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3" r:id="rId4"/>
    <p:sldMasterId id="2147483698" r:id="rId5"/>
  </p:sldMasterIdLst>
  <p:notesMasterIdLst>
    <p:notesMasterId r:id="rId56"/>
  </p:notesMasterIdLst>
  <p:sldIdLst>
    <p:sldId id="256" r:id="rId6"/>
    <p:sldId id="3536" r:id="rId7"/>
    <p:sldId id="2147309323" r:id="rId8"/>
    <p:sldId id="2147309344" r:id="rId9"/>
    <p:sldId id="5196" r:id="rId10"/>
    <p:sldId id="2147309375" r:id="rId11"/>
    <p:sldId id="2147309362" r:id="rId12"/>
    <p:sldId id="2147309332" r:id="rId13"/>
    <p:sldId id="2147309294" r:id="rId14"/>
    <p:sldId id="2147309380" r:id="rId15"/>
    <p:sldId id="2147309303" r:id="rId16"/>
    <p:sldId id="2147309368" r:id="rId17"/>
    <p:sldId id="2147309370" r:id="rId18"/>
    <p:sldId id="2147309291" r:id="rId19"/>
    <p:sldId id="267" r:id="rId20"/>
    <p:sldId id="2147309292" r:id="rId21"/>
    <p:sldId id="355" r:id="rId22"/>
    <p:sldId id="2147309373" r:id="rId23"/>
    <p:sldId id="2147309326" r:id="rId24"/>
    <p:sldId id="2147309331" r:id="rId25"/>
    <p:sldId id="2147309333" r:id="rId26"/>
    <p:sldId id="2147309360" r:id="rId27"/>
    <p:sldId id="2147309364" r:id="rId28"/>
    <p:sldId id="2147309365" r:id="rId29"/>
    <p:sldId id="2147309374" r:id="rId30"/>
    <p:sldId id="2147309376" r:id="rId31"/>
    <p:sldId id="2147309382" r:id="rId32"/>
    <p:sldId id="2147309325" r:id="rId33"/>
    <p:sldId id="2147309337" r:id="rId34"/>
    <p:sldId id="2147309338" r:id="rId35"/>
    <p:sldId id="2147309342" r:id="rId36"/>
    <p:sldId id="2147309339" r:id="rId37"/>
    <p:sldId id="2147309343" r:id="rId38"/>
    <p:sldId id="2147309340" r:id="rId39"/>
    <p:sldId id="2147309381" r:id="rId40"/>
    <p:sldId id="2147309336" r:id="rId41"/>
    <p:sldId id="2147309353" r:id="rId42"/>
    <p:sldId id="2147309341" r:id="rId43"/>
    <p:sldId id="2147309324" r:id="rId44"/>
    <p:sldId id="2147309334" r:id="rId45"/>
    <p:sldId id="2147309335" r:id="rId46"/>
    <p:sldId id="2147309377" r:id="rId47"/>
    <p:sldId id="2147309345" r:id="rId48"/>
    <p:sldId id="2147309346" r:id="rId49"/>
    <p:sldId id="2147309349" r:id="rId50"/>
    <p:sldId id="2147309378" r:id="rId51"/>
    <p:sldId id="2147309363" r:id="rId52"/>
    <p:sldId id="2147309352" r:id="rId53"/>
    <p:sldId id="2147309379" r:id="rId54"/>
    <p:sldId id="2147309347" r:id="rId55"/>
  </p:sldIdLst>
  <p:sldSz cx="9144000" cy="5143500" type="screen16x9"/>
  <p:notesSz cx="6797675" cy="9926638"/>
  <p:custDataLst>
    <p:tags r:id="rId57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60CE740-D2B5-4EBF-B8EC-3179E4579064}">
          <p14:sldIdLst>
            <p14:sldId id="256"/>
            <p14:sldId id="3536"/>
            <p14:sldId id="2147309323"/>
            <p14:sldId id="2147309344"/>
            <p14:sldId id="5196"/>
            <p14:sldId id="2147309375"/>
            <p14:sldId id="2147309362"/>
            <p14:sldId id="2147309332"/>
            <p14:sldId id="2147309294"/>
            <p14:sldId id="2147309380"/>
            <p14:sldId id="2147309303"/>
            <p14:sldId id="2147309368"/>
            <p14:sldId id="2147309370"/>
            <p14:sldId id="2147309291"/>
            <p14:sldId id="267"/>
            <p14:sldId id="2147309292"/>
            <p14:sldId id="355"/>
            <p14:sldId id="2147309373"/>
            <p14:sldId id="2147309326"/>
            <p14:sldId id="2147309331"/>
            <p14:sldId id="2147309333"/>
            <p14:sldId id="2147309360"/>
            <p14:sldId id="2147309364"/>
            <p14:sldId id="2147309365"/>
            <p14:sldId id="2147309374"/>
            <p14:sldId id="2147309376"/>
            <p14:sldId id="2147309382"/>
            <p14:sldId id="2147309325"/>
            <p14:sldId id="2147309337"/>
            <p14:sldId id="2147309338"/>
            <p14:sldId id="2147309342"/>
            <p14:sldId id="2147309339"/>
            <p14:sldId id="2147309343"/>
            <p14:sldId id="2147309340"/>
            <p14:sldId id="2147309381"/>
            <p14:sldId id="2147309336"/>
            <p14:sldId id="2147309353"/>
            <p14:sldId id="2147309341"/>
            <p14:sldId id="2147309324"/>
            <p14:sldId id="2147309334"/>
            <p14:sldId id="2147309335"/>
            <p14:sldId id="2147309377"/>
            <p14:sldId id="2147309345"/>
            <p14:sldId id="2147309346"/>
            <p14:sldId id="2147309349"/>
            <p14:sldId id="2147309378"/>
            <p14:sldId id="2147309363"/>
            <p14:sldId id="2147309352"/>
            <p14:sldId id="2147309379"/>
            <p14:sldId id="214730934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  <p188:author id="{C559A3AA-5307-7580-849D-F221C6DEDD80}" name="Santa Brevik" initials="SB" userId="S::santagu@ntnu.no::7b91aa59-b686-4194-8d76-079072152d62" providerId="AD"/>
  <p188:author id="{BD64E2F5-DE5F-9D2F-522B-67584DCD03ED}" name="Christina Horvei" initials="CH" userId="S::chrihorv@ntnu.no::a883ca73-a3a6-4204-991d-57d11551949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tin Kårøy Overvik" initials="KO" lastIdx="9" clrIdx="0">
    <p:extLst>
      <p:ext uri="{19B8F6BF-5375-455C-9EA6-DF929625EA0E}">
        <p15:presenceInfo xmlns:p15="http://schemas.microsoft.com/office/powerpoint/2012/main" userId="S::kristo@ntnu.no::9f32c53a-86e1-4034-b7b9-1fcc4812f6dd" providerId="AD"/>
      </p:ext>
    </p:extLst>
  </p:cmAuthor>
  <p:cmAuthor id="2" name="Horvei, Christina" initials="HC" lastIdx="5" clrIdx="1">
    <p:extLst>
      <p:ext uri="{19B8F6BF-5375-455C-9EA6-DF929625EA0E}">
        <p15:presenceInfo xmlns:p15="http://schemas.microsoft.com/office/powerpoint/2012/main" userId="S::chorvei@deloitte.no::cd24bc57-60b2-4e37-aa14-cf0aa018956c" providerId="AD"/>
      </p:ext>
    </p:extLst>
  </p:cmAuthor>
  <p:cmAuthor id="3" name="Christina" initials="C" lastIdx="1" clrIdx="2">
    <p:extLst>
      <p:ext uri="{19B8F6BF-5375-455C-9EA6-DF929625EA0E}">
        <p15:presenceInfo xmlns:p15="http://schemas.microsoft.com/office/powerpoint/2012/main" userId="Christina" providerId="None"/>
      </p:ext>
    </p:extLst>
  </p:cmAuthor>
  <p:cmAuthor id="4" name="Christina Horvei" initials="CH" lastIdx="1" clrIdx="3">
    <p:extLst>
      <p:ext uri="{19B8F6BF-5375-455C-9EA6-DF929625EA0E}">
        <p15:presenceInfo xmlns:p15="http://schemas.microsoft.com/office/powerpoint/2012/main" userId="S::chrihorv@ntnu.no::a883ca73-a3a6-4204-991d-57d11551949a" providerId="AD"/>
      </p:ext>
    </p:extLst>
  </p:cmAuthor>
  <p:cmAuthor id="5" name="Gry-Lene Johansen" initials="GLJ" lastIdx="4" clrIdx="4">
    <p:extLst>
      <p:ext uri="{19B8F6BF-5375-455C-9EA6-DF929625EA0E}">
        <p15:presenceInfo xmlns:p15="http://schemas.microsoft.com/office/powerpoint/2012/main" userId="S::grylj@ntnu.no::acbf094c-51cb-4117-b367-2a5f9274475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D3475"/>
    <a:srgbClr val="BBAC76"/>
    <a:srgbClr val="6E91B9"/>
    <a:srgbClr val="0050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0664" autoAdjust="0"/>
  </p:normalViewPr>
  <p:slideViewPr>
    <p:cSldViewPr snapToGrid="0">
      <p:cViewPr varScale="1">
        <p:scale>
          <a:sx n="220" d="100"/>
          <a:sy n="220" d="100"/>
        </p:scale>
        <p:origin x="3822" y="16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microsoft.com/office/2016/11/relationships/changesInfo" Target="changesInfos/changesInfo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tags" Target="tags/tag1.xml"/><Relationship Id="rId61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notesMaster" Target="notesMasters/notesMaster1.xml"/><Relationship Id="rId64" Type="http://schemas.microsoft.com/office/2018/10/relationships/authors" Target="authors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niken Westad" userId="9df4061a-84e6-4982-9774-d796e7b0c581" providerId="ADAL" clId="{36314D05-05D7-4EB4-82CD-64827A759FC1}"/>
    <pc:docChg chg="modSld">
      <pc:chgData name="Anniken Westad" userId="9df4061a-84e6-4982-9774-d796e7b0c581" providerId="ADAL" clId="{36314D05-05D7-4EB4-82CD-64827A759FC1}" dt="2024-04-24T09:08:30.307" v="14" actId="20577"/>
      <pc:docMkLst>
        <pc:docMk/>
      </pc:docMkLst>
      <pc:sldChg chg="modNotesTx">
        <pc:chgData name="Anniken Westad" userId="9df4061a-84e6-4982-9774-d796e7b0c581" providerId="ADAL" clId="{36314D05-05D7-4EB4-82CD-64827A759FC1}" dt="2024-04-24T09:06:23.237" v="7" actId="20577"/>
        <pc:sldMkLst>
          <pc:docMk/>
          <pc:sldMk cId="2093663109" sldId="267"/>
        </pc:sldMkLst>
      </pc:sldChg>
      <pc:sldChg chg="modNotesTx">
        <pc:chgData name="Anniken Westad" userId="9df4061a-84e6-4982-9774-d796e7b0c581" providerId="ADAL" clId="{36314D05-05D7-4EB4-82CD-64827A759FC1}" dt="2024-04-24T09:08:30.307" v="14" actId="20577"/>
        <pc:sldMkLst>
          <pc:docMk/>
          <pc:sldMk cId="2572989264" sldId="3536"/>
        </pc:sldMkLst>
      </pc:sldChg>
      <pc:sldChg chg="modNotesTx">
        <pc:chgData name="Anniken Westad" userId="9df4061a-84e6-4982-9774-d796e7b0c581" providerId="ADAL" clId="{36314D05-05D7-4EB4-82CD-64827A759FC1}" dt="2024-04-24T09:06:20.385" v="6" actId="20577"/>
        <pc:sldMkLst>
          <pc:docMk/>
          <pc:sldMk cId="2707546953" sldId="2147309291"/>
        </pc:sldMkLst>
      </pc:sldChg>
      <pc:sldChg chg="modNotesTx">
        <pc:chgData name="Anniken Westad" userId="9df4061a-84e6-4982-9774-d796e7b0c581" providerId="ADAL" clId="{36314D05-05D7-4EB4-82CD-64827A759FC1}" dt="2024-04-24T09:06:27.356" v="8" actId="20577"/>
        <pc:sldMkLst>
          <pc:docMk/>
          <pc:sldMk cId="1682904912" sldId="2147309292"/>
        </pc:sldMkLst>
      </pc:sldChg>
      <pc:sldChg chg="modNotesTx">
        <pc:chgData name="Anniken Westad" userId="9df4061a-84e6-4982-9774-d796e7b0c581" providerId="ADAL" clId="{36314D05-05D7-4EB4-82CD-64827A759FC1}" dt="2024-04-24T09:06:04.314" v="2" actId="20577"/>
        <pc:sldMkLst>
          <pc:docMk/>
          <pc:sldMk cId="1274266491" sldId="2147309294"/>
        </pc:sldMkLst>
      </pc:sldChg>
      <pc:sldChg chg="modNotesTx">
        <pc:chgData name="Anniken Westad" userId="9df4061a-84e6-4982-9774-d796e7b0c581" providerId="ADAL" clId="{36314D05-05D7-4EB4-82CD-64827A759FC1}" dt="2024-04-24T09:06:13.055" v="4" actId="20577"/>
        <pc:sldMkLst>
          <pc:docMk/>
          <pc:sldMk cId="2232915785" sldId="2147309303"/>
        </pc:sldMkLst>
      </pc:sldChg>
      <pc:sldChg chg="modNotesTx">
        <pc:chgData name="Anniken Westad" userId="9df4061a-84e6-4982-9774-d796e7b0c581" providerId="ADAL" clId="{36314D05-05D7-4EB4-82CD-64827A759FC1}" dt="2024-04-24T09:05:48.229" v="0" actId="20577"/>
        <pc:sldMkLst>
          <pc:docMk/>
          <pc:sldMk cId="3939256227" sldId="2147309323"/>
        </pc:sldMkLst>
      </pc:sldChg>
      <pc:sldChg chg="modNotesTx">
        <pc:chgData name="Anniken Westad" userId="9df4061a-84e6-4982-9774-d796e7b0c581" providerId="ADAL" clId="{36314D05-05D7-4EB4-82CD-64827A759FC1}" dt="2024-04-24T09:07:02.058" v="11" actId="20577"/>
        <pc:sldMkLst>
          <pc:docMk/>
          <pc:sldMk cId="3488381339" sldId="2147309324"/>
        </pc:sldMkLst>
      </pc:sldChg>
      <pc:sldChg chg="modNotesTx">
        <pc:chgData name="Anniken Westad" userId="9df4061a-84e6-4982-9774-d796e7b0c581" providerId="ADAL" clId="{36314D05-05D7-4EB4-82CD-64827A759FC1}" dt="2024-04-24T09:06:35.525" v="9" actId="20577"/>
        <pc:sldMkLst>
          <pc:docMk/>
          <pc:sldMk cId="2737489623" sldId="2147309331"/>
        </pc:sldMkLst>
      </pc:sldChg>
      <pc:sldChg chg="modNotesTx">
        <pc:chgData name="Anniken Westad" userId="9df4061a-84e6-4982-9774-d796e7b0c581" providerId="ADAL" clId="{36314D05-05D7-4EB4-82CD-64827A759FC1}" dt="2024-04-24T09:05:58.539" v="1" actId="20577"/>
        <pc:sldMkLst>
          <pc:docMk/>
          <pc:sldMk cId="3495500298" sldId="2147309332"/>
        </pc:sldMkLst>
      </pc:sldChg>
      <pc:sldChg chg="modNotesTx">
        <pc:chgData name="Anniken Westad" userId="9df4061a-84e6-4982-9774-d796e7b0c581" providerId="ADAL" clId="{36314D05-05D7-4EB4-82CD-64827A759FC1}" dt="2024-04-24T09:07:07.842" v="12" actId="20577"/>
        <pc:sldMkLst>
          <pc:docMk/>
          <pc:sldMk cId="229415278" sldId="2147309335"/>
        </pc:sldMkLst>
      </pc:sldChg>
      <pc:sldChg chg="modNotesTx">
        <pc:chgData name="Anniken Westad" userId="9df4061a-84e6-4982-9774-d796e7b0c581" providerId="ADAL" clId="{36314D05-05D7-4EB4-82CD-64827A759FC1}" dt="2024-04-24T09:08:06.319" v="13" actId="20577"/>
        <pc:sldMkLst>
          <pc:docMk/>
          <pc:sldMk cId="1606261465" sldId="2147309347"/>
        </pc:sldMkLst>
      </pc:sldChg>
      <pc:sldChg chg="modNotesTx">
        <pc:chgData name="Anniken Westad" userId="9df4061a-84e6-4982-9774-d796e7b0c581" providerId="ADAL" clId="{36314D05-05D7-4EB4-82CD-64827A759FC1}" dt="2024-04-24T09:06:15.744" v="5" actId="20577"/>
        <pc:sldMkLst>
          <pc:docMk/>
          <pc:sldMk cId="2178749288" sldId="2147309368"/>
        </pc:sldMkLst>
      </pc:sldChg>
      <pc:sldChg chg="modNotesTx">
        <pc:chgData name="Anniken Westad" userId="9df4061a-84e6-4982-9774-d796e7b0c581" providerId="ADAL" clId="{36314D05-05D7-4EB4-82CD-64827A759FC1}" dt="2024-04-24T09:06:09.532" v="3" actId="20577"/>
        <pc:sldMkLst>
          <pc:docMk/>
          <pc:sldMk cId="433507253" sldId="2147309380"/>
        </pc:sldMkLst>
      </pc:sldChg>
      <pc:sldChg chg="modNotesTx">
        <pc:chgData name="Anniken Westad" userId="9df4061a-84e6-4982-9774-d796e7b0c581" providerId="ADAL" clId="{36314D05-05D7-4EB4-82CD-64827A759FC1}" dt="2024-04-24T09:06:46.526" v="10" actId="20577"/>
        <pc:sldMkLst>
          <pc:docMk/>
          <pc:sldMk cId="596502512" sldId="2147309382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B04D0A6-1A3B-42FB-A69E-8963AE4F499F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A0D536EA-FCA4-4D02-B69F-F5A7FC700069}">
      <dgm:prSet phldrT="[Text]"/>
      <dgm:spPr>
        <a:xfrm>
          <a:off x="3610" y="2587889"/>
          <a:ext cx="1700482" cy="850241"/>
        </a:xfrm>
        <a:prstGeom prst="roundRect">
          <a:avLst>
            <a:gd name="adj" fmla="val 10000"/>
          </a:avLst>
        </a:prstGeom>
        <a:solidFill>
          <a:srgbClr val="E7E6E6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Norge</a:t>
          </a:r>
        </a:p>
      </dgm:t>
    </dgm:pt>
    <dgm:pt modelId="{37159368-7558-4D0F-A132-905783D58D12}" type="parTrans" cxnId="{44712C33-E542-41E8-9847-0704425EEFC5}">
      <dgm:prSet/>
      <dgm:spPr/>
      <dgm:t>
        <a:bodyPr/>
        <a:lstStyle/>
        <a:p>
          <a:endParaRPr lang="en-US"/>
        </a:p>
      </dgm:t>
    </dgm:pt>
    <dgm:pt modelId="{649AB15E-AD08-47BD-9ECA-D5419AA8F8E7}" type="sibTrans" cxnId="{44712C33-E542-41E8-9847-0704425EEFC5}">
      <dgm:prSet/>
      <dgm:spPr/>
      <dgm:t>
        <a:bodyPr/>
        <a:lstStyle/>
        <a:p>
          <a:endParaRPr lang="en-US"/>
        </a:p>
      </dgm:t>
    </dgm:pt>
    <dgm:pt modelId="{E527F988-260F-4D3E-9B7D-99895090B59C}">
      <dgm:prSet phldrT="[Text]"/>
      <dgm:spPr>
        <a:xfrm>
          <a:off x="4772648" y="485617"/>
          <a:ext cx="1700482" cy="850241"/>
        </a:xfrm>
        <a:solidFill>
          <a:srgbClr val="E6ECFF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BDE809B0-70AC-4BFC-8CAB-586FB741C3F8}" type="parTrans" cxnId="{E8D366CC-5C2A-463A-9041-841E10E5F4A8}">
      <dgm:prSet/>
      <dgm:spPr>
        <a:xfrm rot="18267754">
          <a:off x="3820899" y="1397416"/>
          <a:ext cx="1215618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E3502A46-028E-4A0D-BC02-7C21BC2F86F5}" type="sibTrans" cxnId="{E8D366CC-5C2A-463A-9041-841E10E5F4A8}">
      <dgm:prSet/>
      <dgm:spPr/>
      <dgm:t>
        <a:bodyPr/>
        <a:lstStyle/>
        <a:p>
          <a:endParaRPr lang="en-US"/>
        </a:p>
      </dgm:t>
    </dgm:pt>
    <dgm:pt modelId="{B2FF7F00-EA45-4EE6-89D7-380CF5E6B833}">
      <dgm:prSet phldrT="[Text]"/>
      <dgm:spPr>
        <a:xfrm>
          <a:off x="4772648" y="1691021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508F0CC1-6B0D-475C-8038-BE5018FD719C}" type="parTrans" cxnId="{593714B7-FA69-4513-B4C2-FA54B3D93BDA}">
      <dgm:prSet custT="1"/>
      <dgm:spPr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</a:sysClr>
          </a:solidFill>
          <a:prstDash val="solid"/>
          <a:round/>
        </a:ln>
        <a:effectLst/>
      </dgm:spPr>
      <dgm:t>
        <a:bodyPr spcFirstLastPara="0" vert="horz" wrap="square" lIns="12700" tIns="0" rIns="12700" bIns="0" numCol="1" spcCol="1270" anchor="ctr" anchorCtr="0"/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F013F887-1EFD-44ED-B359-F8CEEEA1A61F}" type="sibTrans" cxnId="{593714B7-FA69-4513-B4C2-FA54B3D93BDA}">
      <dgm:prSet/>
      <dgm:spPr/>
      <dgm:t>
        <a:bodyPr/>
        <a:lstStyle/>
        <a:p>
          <a:endParaRPr lang="en-US"/>
        </a:p>
      </dgm:t>
    </dgm:pt>
    <dgm:pt modelId="{86209361-DAEF-409C-B9C3-11C70C948D08}">
      <dgm:prSet phldrT="[Text]"/>
      <dgm:spPr>
        <a:xfrm>
          <a:off x="7071309" y="43330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MVA</a:t>
          </a:r>
        </a:p>
      </dgm:t>
    </dgm:pt>
    <dgm:pt modelId="{C1EB25B0-C434-41E8-BFF3-BA9C82948CDB}" type="parTrans" cxnId="{4C76A7B3-5E0D-41EE-A682-651DD6EB2CE0}">
      <dgm:prSet/>
      <dgm:spPr>
        <a:xfrm rot="19411270">
          <a:off x="6400254" y="675136"/>
          <a:ext cx="743932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9F94CF4A-AF96-4B57-9F3F-079EFC94154E}" type="sibTrans" cxnId="{4C76A7B3-5E0D-41EE-A682-651DD6EB2CE0}">
      <dgm:prSet/>
      <dgm:spPr/>
      <dgm:t>
        <a:bodyPr/>
        <a:lstStyle/>
        <a:p>
          <a:endParaRPr lang="en-US"/>
        </a:p>
      </dgm:t>
    </dgm:pt>
    <dgm:pt modelId="{BCB54F11-E6C0-4C2D-96CA-42EB992D02C6}">
      <dgm:prSet phldrT="[Text]"/>
      <dgm:spPr>
        <a:xfrm>
          <a:off x="2384286" y="1487890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3171C63B-07FF-4437-B14F-142ED5A8A4C7}" type="sibTrans" cxnId="{4D84010F-BAB5-42CC-BD99-1DDD4FEF3369}">
      <dgm:prSet/>
      <dgm:spPr/>
      <dgm:t>
        <a:bodyPr/>
        <a:lstStyle/>
        <a:p>
          <a:endParaRPr lang="en-US"/>
        </a:p>
      </dgm:t>
    </dgm:pt>
    <dgm:pt modelId="{E093BDD2-87E5-4048-8CBB-5A7DDB90E422}" type="parTrans" cxnId="{4D84010F-BAB5-42CC-BD99-1DDD4FEF3369}">
      <dgm:prSet/>
      <dgm:spPr>
        <a:xfrm rot="18103853">
          <a:off x="1397532" y="2448552"/>
          <a:ext cx="1293314" cy="28916"/>
        </a:xfrm>
        <a:noFill/>
        <a:ln w="127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20E21E3E-A841-4758-8DDA-E8E3F7D9552A}">
      <dgm:prSet phldrT="[Text]"/>
      <dgm:spPr>
        <a:xfrm>
          <a:off x="4772648" y="1691021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25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1 = 15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2 = 12%</a:t>
          </a:r>
        </a:p>
      </dgm:t>
    </dgm:pt>
    <dgm:pt modelId="{51101805-D104-40D9-A505-FC8C5699EB55}" type="parTrans" cxnId="{C4C1E841-A0BA-408E-8BBD-D4173BED8814}">
      <dgm:prSet/>
      <dgm:spPr>
        <a:ln w="12700"/>
      </dgm:spPr>
      <dgm:t>
        <a:bodyPr/>
        <a:lstStyle/>
        <a:p>
          <a:endParaRPr lang="nb-NO"/>
        </a:p>
      </dgm:t>
    </dgm:pt>
    <dgm:pt modelId="{8DAA2DD2-412C-4328-BBB6-A4AD04F4DD83}" type="sibTrans" cxnId="{C4C1E841-A0BA-408E-8BBD-D4173BED8814}">
      <dgm:prSet/>
      <dgm:spPr/>
      <dgm:t>
        <a:bodyPr/>
        <a:lstStyle/>
        <a:p>
          <a:endParaRPr lang="nb-NO"/>
        </a:p>
      </dgm:t>
    </dgm:pt>
    <dgm:pt modelId="{24EEC066-2A0A-4537-941F-9A0621956B49}">
      <dgm:prSet phldrT="[Text]"/>
      <dgm:spPr>
        <a:xfrm>
          <a:off x="7071309" y="1138985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MVA</a:t>
          </a:r>
        </a:p>
      </dgm:t>
    </dgm:pt>
    <dgm:pt modelId="{DC6411BD-2E51-41F8-B18B-C846C02A4771}" type="parTrans" cxnId="{A7FC6C64-44A7-4E12-90F7-C2D17991F1F5}">
      <dgm:prSet/>
      <dgm:spPr>
        <a:ln w="12700"/>
      </dgm:spPr>
      <dgm:t>
        <a:bodyPr/>
        <a:lstStyle/>
        <a:p>
          <a:endParaRPr lang="nb-NO"/>
        </a:p>
      </dgm:t>
    </dgm:pt>
    <dgm:pt modelId="{24E8AC2C-81B9-460C-909D-E2F2C7BEA7F4}" type="sibTrans" cxnId="{A7FC6C64-44A7-4E12-90F7-C2D17991F1F5}">
      <dgm:prSet/>
      <dgm:spPr/>
      <dgm:t>
        <a:bodyPr/>
        <a:lstStyle/>
        <a:p>
          <a:endParaRPr lang="nb-NO"/>
        </a:p>
      </dgm:t>
    </dgm:pt>
    <dgm:pt modelId="{9515CE4E-7444-40EB-93A4-CDE98862AC6A}">
      <dgm:prSet phldrT="[Text]"/>
      <dgm:spPr>
        <a:xfrm>
          <a:off x="9529924" y="1430983"/>
          <a:ext cx="1700482" cy="850241"/>
        </a:xfr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 =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g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vgift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C9BD3022-12DF-4C70-8E59-09FFEE9E4FDF}" type="parTrans" cxnId="{7214EC45-A706-4341-8336-E3657E2C2419}">
      <dgm:prSet/>
      <dgm:spPr>
        <a:ln w="12700"/>
      </dgm:spPr>
      <dgm:t>
        <a:bodyPr/>
        <a:lstStyle/>
        <a:p>
          <a:endParaRPr lang="nb-NO"/>
        </a:p>
      </dgm:t>
    </dgm:pt>
    <dgm:pt modelId="{5D4110DA-07BA-4F3D-AFD5-8998664855EE}" type="sibTrans" cxnId="{7214EC45-A706-4341-8336-E3657E2C2419}">
      <dgm:prSet/>
      <dgm:spPr/>
      <dgm:t>
        <a:bodyPr/>
        <a:lstStyle/>
        <a:p>
          <a:endParaRPr lang="nb-NO"/>
        </a:p>
      </dgm:t>
    </dgm:pt>
    <dgm:pt modelId="{A753D3EE-876E-4DCA-8335-F51286301122}">
      <dgm:prSet phldrT="[Text]"/>
      <dgm:spPr>
        <a:xfrm>
          <a:off x="9529924" y="0"/>
          <a:ext cx="1700482" cy="850241"/>
        </a:xfr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1 =25 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2 =15 %</a:t>
          </a:r>
        </a:p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3 =12 %</a:t>
          </a:r>
        </a:p>
      </dgm:t>
    </dgm:pt>
    <dgm:pt modelId="{02BF3BD8-BDDF-42AE-A1FF-C85D257D4FEC}" type="sibTrans" cxnId="{972979B6-CC79-4EEA-BC52-9BEC8794E4D5}">
      <dgm:prSet/>
      <dgm:spPr/>
      <dgm:t>
        <a:bodyPr/>
        <a:lstStyle/>
        <a:p>
          <a:endParaRPr lang="en-US"/>
        </a:p>
      </dgm:t>
    </dgm:pt>
    <dgm:pt modelId="{763E9E80-693A-4235-87E4-A5AF017B577A}" type="parTrans" cxnId="{972979B6-CC79-4EEA-BC52-9BEC8794E4D5}">
      <dgm:prSet/>
      <dgm:spPr>
        <a:xfrm rot="21403734">
          <a:off x="8771174" y="432327"/>
          <a:ext cx="759368" cy="28916"/>
        </a:xfr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F2E891F4-E21F-4B33-8DA6-C688BB7BCDF1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579E95F2-699E-4DF4-ABDB-69F40A4D0FA7}" type="parTrans" cxnId="{93DB88BF-3F47-4FF0-91AC-CC2A36EECF21}">
      <dgm:prSet/>
      <dgm:spPr>
        <a:ln w="12700"/>
      </dgm:spPr>
      <dgm:t>
        <a:bodyPr/>
        <a:lstStyle/>
        <a:p>
          <a:endParaRPr lang="nb-NO"/>
        </a:p>
      </dgm:t>
    </dgm:pt>
    <dgm:pt modelId="{4D50CBFD-DAAC-45FD-8220-F7132C6B2818}" type="sibTrans" cxnId="{93DB88BF-3F47-4FF0-91AC-CC2A36EECF21}">
      <dgm:prSet/>
      <dgm:spPr/>
      <dgm:t>
        <a:bodyPr/>
        <a:lstStyle/>
        <a:p>
          <a:endParaRPr lang="nb-NO"/>
        </a:p>
      </dgm:t>
    </dgm:pt>
    <dgm:pt modelId="{EC6D79AC-9674-4E1E-9127-D8464F99866F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6B0EE9CD-2E95-43B5-BE66-F30E0DE245CD}" type="parTrans" cxnId="{E8C9EE92-D398-488A-9A59-85D936AEFDF3}">
      <dgm:prSet/>
      <dgm:spPr>
        <a:ln w="12700"/>
      </dgm:spPr>
      <dgm:t>
        <a:bodyPr/>
        <a:lstStyle/>
        <a:p>
          <a:endParaRPr lang="nb-NO"/>
        </a:p>
      </dgm:t>
    </dgm:pt>
    <dgm:pt modelId="{76C5F491-7509-4CB5-8A73-22CED7FBB6F9}" type="sibTrans" cxnId="{E8C9EE92-D398-488A-9A59-85D936AEFDF3}">
      <dgm:prSet/>
      <dgm:spPr/>
      <dgm:t>
        <a:bodyPr/>
        <a:lstStyle/>
        <a:p>
          <a:endParaRPr lang="nb-NO"/>
        </a:p>
      </dgm:t>
    </dgm:pt>
    <dgm:pt modelId="{FB66839C-B554-45FE-BAEE-352410A4C12D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gm:t>
    </dgm:pt>
    <dgm:pt modelId="{5398DBD6-1A2B-4A83-A486-BA8B545F3E03}" type="parTrans" cxnId="{21E51FB0-3E45-4F25-A080-75D26FD7DDEA}">
      <dgm:prSet/>
      <dgm:spPr>
        <a:ln w="12700"/>
      </dgm:spPr>
      <dgm:t>
        <a:bodyPr/>
        <a:lstStyle/>
        <a:p>
          <a:endParaRPr lang="nb-NO"/>
        </a:p>
      </dgm:t>
    </dgm:pt>
    <dgm:pt modelId="{5B5C86DE-FDDB-41DD-8E48-79F590579DDC}" type="sibTrans" cxnId="{21E51FB0-3E45-4F25-A080-75D26FD7DDEA}">
      <dgm:prSet/>
      <dgm:spPr/>
      <dgm:t>
        <a:bodyPr/>
        <a:lstStyle/>
        <a:p>
          <a:endParaRPr lang="nb-NO"/>
        </a:p>
      </dgm:t>
    </dgm:pt>
    <dgm:pt modelId="{2BBF0687-B095-4F0A-A1BE-09C5936255FC}">
      <dgm:prSet phldrT="[Text]"/>
      <dgm:spPr>
        <a:xfrm>
          <a:off x="4772648" y="1691021"/>
          <a:ext cx="1700482" cy="850241"/>
        </a:xfr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0 =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ansett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ats</a:t>
          </a: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(%)</a:t>
          </a:r>
        </a:p>
      </dgm:t>
    </dgm:pt>
    <dgm:pt modelId="{77EFAE13-B4AC-442C-89FF-61F9237F9526}" type="parTrans" cxnId="{ACF4008B-B60B-43F1-80C2-8AFB0022F2FA}">
      <dgm:prSet/>
      <dgm:spPr>
        <a:ln w="12700"/>
      </dgm:spPr>
      <dgm:t>
        <a:bodyPr/>
        <a:lstStyle/>
        <a:p>
          <a:endParaRPr lang="nb-NO"/>
        </a:p>
      </dgm:t>
    </dgm:pt>
    <dgm:pt modelId="{F0791A44-A963-4E97-9D5C-C0A98E53E609}" type="sibTrans" cxnId="{ACF4008B-B60B-43F1-80C2-8AFB0022F2FA}">
      <dgm:prSet/>
      <dgm:spPr/>
      <dgm:t>
        <a:bodyPr/>
        <a:lstStyle/>
        <a:p>
          <a:endParaRPr lang="nb-NO"/>
        </a:p>
      </dgm:t>
    </dgm:pt>
    <dgm:pt modelId="{B73B9113-27D1-4E4E-87D1-57BE3028916C}">
      <dgm:prSet phldrT="[Text]"/>
      <dgm:spPr>
        <a:xfrm>
          <a:off x="4772648" y="1691021"/>
          <a:ext cx="1700482" cy="850241"/>
        </a:xfr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 = 25%</a:t>
          </a:r>
          <a:b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M = 15%</a:t>
          </a:r>
          <a:b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12%</a:t>
          </a:r>
        </a:p>
      </dgm:t>
    </dgm:pt>
    <dgm:pt modelId="{BA1E47FE-BE74-4B2C-8383-84C31F0201A4}" type="parTrans" cxnId="{061A43C6-2E7E-478D-BBAF-E3106BD86CC2}">
      <dgm:prSet/>
      <dgm:spPr>
        <a:ln w="12700"/>
      </dgm:spPr>
      <dgm:t>
        <a:bodyPr/>
        <a:lstStyle/>
        <a:p>
          <a:endParaRPr lang="nb-NO"/>
        </a:p>
      </dgm:t>
    </dgm:pt>
    <dgm:pt modelId="{1A686656-1927-4A74-918E-AD23C71C2B32}" type="sibTrans" cxnId="{061A43C6-2E7E-478D-BBAF-E3106BD86CC2}">
      <dgm:prSet/>
      <dgm:spPr/>
      <dgm:t>
        <a:bodyPr/>
        <a:lstStyle/>
        <a:p>
          <a:endParaRPr lang="nb-NO"/>
        </a:p>
      </dgm:t>
    </dgm:pt>
    <dgm:pt modelId="{E4FA29CC-0A41-474F-ACF4-D5BBDAEE26C9}" type="pres">
      <dgm:prSet presAssocID="{5B04D0A6-1A3B-42FB-A69E-8963AE4F499F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9449B6B0-6515-4A7E-AB61-3BE6DECB7B22}" type="pres">
      <dgm:prSet presAssocID="{A0D536EA-FCA4-4D02-B69F-F5A7FC700069}" presName="root1" presStyleCnt="0"/>
      <dgm:spPr/>
    </dgm:pt>
    <dgm:pt modelId="{49F26713-7102-4DBA-975A-66261E72AAEA}" type="pres">
      <dgm:prSet presAssocID="{A0D536EA-FCA4-4D02-B69F-F5A7FC700069}" presName="LevelOneTextNode" presStyleLbl="node0" presStyleIdx="0" presStyleCnt="1" custLinFactNeighborX="-583" custLinFactNeighborY="563">
        <dgm:presLayoutVars>
          <dgm:chPref val="3"/>
        </dgm:presLayoutVars>
      </dgm:prSet>
      <dgm:spPr/>
    </dgm:pt>
    <dgm:pt modelId="{91A61326-9538-492A-9AC2-BD3DD0E188B9}" type="pres">
      <dgm:prSet presAssocID="{A0D536EA-FCA4-4D02-B69F-F5A7FC700069}" presName="level2hierChild" presStyleCnt="0"/>
      <dgm:spPr/>
    </dgm:pt>
    <dgm:pt modelId="{18AAF45A-A872-4892-BC2E-4A48F7461E51}" type="pres">
      <dgm:prSet presAssocID="{E093BDD2-87E5-4048-8CBB-5A7DDB90E422}" presName="conn2-1" presStyleLbl="parChTrans1D2" presStyleIdx="0" presStyleCnt="2"/>
      <dgm:spPr/>
    </dgm:pt>
    <dgm:pt modelId="{D696AC80-0CCD-4AF0-81E2-A5D510496D9C}" type="pres">
      <dgm:prSet presAssocID="{E093BDD2-87E5-4048-8CBB-5A7DDB90E422}" presName="connTx" presStyleLbl="parChTrans1D2" presStyleIdx="0" presStyleCnt="2"/>
      <dgm:spPr/>
    </dgm:pt>
    <dgm:pt modelId="{9CB454F5-BA89-407E-97EA-400DA5C9F7B6}" type="pres">
      <dgm:prSet presAssocID="{BCB54F11-E6C0-4C2D-96CA-42EB992D02C6}" presName="root2" presStyleCnt="0"/>
      <dgm:spPr/>
    </dgm:pt>
    <dgm:pt modelId="{D9079FC4-084B-417F-9031-4C416C90D2F1}" type="pres">
      <dgm:prSet presAssocID="{BCB54F11-E6C0-4C2D-96CA-42EB992D02C6}" presName="LevelTwoTextNode" presStyleLbl="node2" presStyleIdx="0" presStyleCnt="2">
        <dgm:presLayoutVars>
          <dgm:chPref val="3"/>
        </dgm:presLayoutVars>
      </dgm:prSet>
      <dgm:spPr/>
    </dgm:pt>
    <dgm:pt modelId="{971AB681-BD7C-4291-AE02-11967217D969}" type="pres">
      <dgm:prSet presAssocID="{BCB54F11-E6C0-4C2D-96CA-42EB992D02C6}" presName="level3hierChild" presStyleCnt="0"/>
      <dgm:spPr/>
    </dgm:pt>
    <dgm:pt modelId="{A49805BE-C9B6-4B1D-844D-DAF0B1AD8566}" type="pres">
      <dgm:prSet presAssocID="{BDE809B0-70AC-4BFC-8CAB-586FB741C3F8}" presName="conn2-1" presStyleLbl="parChTrans1D3" presStyleIdx="0" presStyleCnt="4"/>
      <dgm:spPr/>
    </dgm:pt>
    <dgm:pt modelId="{E4D2591A-80D1-4F5F-ABDB-EB62F22AD203}" type="pres">
      <dgm:prSet presAssocID="{BDE809B0-70AC-4BFC-8CAB-586FB741C3F8}" presName="connTx" presStyleLbl="parChTrans1D3" presStyleIdx="0" presStyleCnt="4"/>
      <dgm:spPr/>
    </dgm:pt>
    <dgm:pt modelId="{D53ED68E-806E-4FB9-9173-A41F08989C30}" type="pres">
      <dgm:prSet presAssocID="{E527F988-260F-4D3E-9B7D-99895090B59C}" presName="root2" presStyleCnt="0"/>
      <dgm:spPr/>
    </dgm:pt>
    <dgm:pt modelId="{8969B42D-6BC3-4B8A-936A-5F8A3F47BE5B}" type="pres">
      <dgm:prSet presAssocID="{E527F988-260F-4D3E-9B7D-99895090B59C}" presName="LevelTwoTextNode" presStyleLbl="node3" presStyleIdx="0" presStyleCnt="4">
        <dgm:presLayoutVars>
          <dgm:chPref val="3"/>
        </dgm:presLayoutVars>
      </dgm:prSet>
      <dgm:spPr/>
    </dgm:pt>
    <dgm:pt modelId="{8922CAB1-D6C5-4A28-9B75-A626E65EF6D9}" type="pres">
      <dgm:prSet presAssocID="{E527F988-260F-4D3E-9B7D-99895090B59C}" presName="level3hierChild" presStyleCnt="0"/>
      <dgm:spPr/>
    </dgm:pt>
    <dgm:pt modelId="{3BECF918-4C3C-43E0-BF8A-E565DB2BF452}" type="pres">
      <dgm:prSet presAssocID="{C1EB25B0-C434-41E8-BFF3-BA9C82948CDB}" presName="conn2-1" presStyleLbl="parChTrans1D4" presStyleIdx="0" presStyleCnt="7"/>
      <dgm:spPr/>
    </dgm:pt>
    <dgm:pt modelId="{F42279E6-F0AF-42CD-B05C-E5BBB0D238BC}" type="pres">
      <dgm:prSet presAssocID="{C1EB25B0-C434-41E8-BFF3-BA9C82948CDB}" presName="connTx" presStyleLbl="parChTrans1D4" presStyleIdx="0" presStyleCnt="7"/>
      <dgm:spPr/>
    </dgm:pt>
    <dgm:pt modelId="{16EB2D57-0F0A-421A-8B57-8F73B17CF7B5}" type="pres">
      <dgm:prSet presAssocID="{86209361-DAEF-409C-B9C3-11C70C948D08}" presName="root2" presStyleCnt="0"/>
      <dgm:spPr/>
    </dgm:pt>
    <dgm:pt modelId="{FE716DB4-7587-49B7-809D-5F1386BB1CD6}" type="pres">
      <dgm:prSet presAssocID="{86209361-DAEF-409C-B9C3-11C70C948D08}" presName="LevelTwoTextNode" presStyleLbl="node4" presStyleIdx="0" presStyleCnt="7">
        <dgm:presLayoutVars>
          <dgm:chPref val="3"/>
        </dgm:presLayoutVars>
      </dgm:prSet>
      <dgm:spPr/>
    </dgm:pt>
    <dgm:pt modelId="{D3DE2682-A1D2-4AE1-AC6B-8F1CA760A1B5}" type="pres">
      <dgm:prSet presAssocID="{86209361-DAEF-409C-B9C3-11C70C948D08}" presName="level3hierChild" presStyleCnt="0"/>
      <dgm:spPr/>
    </dgm:pt>
    <dgm:pt modelId="{3B9B0C84-CA2A-4B43-8B9F-23E48F48F101}" type="pres">
      <dgm:prSet presAssocID="{763E9E80-693A-4235-87E4-A5AF017B577A}" presName="conn2-1" presStyleLbl="parChTrans1D4" presStyleIdx="1" presStyleCnt="7"/>
      <dgm:spPr/>
    </dgm:pt>
    <dgm:pt modelId="{FEFB87AA-B9A6-44B1-AEC9-3771863FB7A4}" type="pres">
      <dgm:prSet presAssocID="{763E9E80-693A-4235-87E4-A5AF017B577A}" presName="connTx" presStyleLbl="parChTrans1D4" presStyleIdx="1" presStyleCnt="7"/>
      <dgm:spPr/>
    </dgm:pt>
    <dgm:pt modelId="{795505FA-D8DE-48D2-8AA1-265164B500CA}" type="pres">
      <dgm:prSet presAssocID="{A753D3EE-876E-4DCA-8335-F51286301122}" presName="root2" presStyleCnt="0"/>
      <dgm:spPr/>
    </dgm:pt>
    <dgm:pt modelId="{1EDE3657-9361-45D4-8779-221B86CB8224}" type="pres">
      <dgm:prSet presAssocID="{A753D3EE-876E-4DCA-8335-F51286301122}" presName="LevelTwoTextNode" presStyleLbl="node4" presStyleIdx="1" presStyleCnt="7">
        <dgm:presLayoutVars>
          <dgm:chPref val="3"/>
        </dgm:presLayoutVars>
      </dgm:prSet>
      <dgm:spPr/>
    </dgm:pt>
    <dgm:pt modelId="{F77E2F77-39E5-4BD0-82CB-FDE1E0EE62EE}" type="pres">
      <dgm:prSet presAssocID="{A753D3EE-876E-4DCA-8335-F51286301122}" presName="level3hierChild" presStyleCnt="0"/>
      <dgm:spPr/>
    </dgm:pt>
    <dgm:pt modelId="{2B6D0068-6FE3-4E8F-9B82-B843E2583135}" type="pres">
      <dgm:prSet presAssocID="{DC6411BD-2E51-41F8-B18B-C846C02A4771}" presName="conn2-1" presStyleLbl="parChTrans1D4" presStyleIdx="2" presStyleCnt="7"/>
      <dgm:spPr/>
    </dgm:pt>
    <dgm:pt modelId="{F3C1857D-F576-438C-99DD-BE2F6F40EB6F}" type="pres">
      <dgm:prSet presAssocID="{DC6411BD-2E51-41F8-B18B-C846C02A4771}" presName="connTx" presStyleLbl="parChTrans1D4" presStyleIdx="2" presStyleCnt="7"/>
      <dgm:spPr/>
    </dgm:pt>
    <dgm:pt modelId="{5A3CD575-D74F-433D-8FFE-3DC26F21D393}" type="pres">
      <dgm:prSet presAssocID="{24EEC066-2A0A-4537-941F-9A0621956B49}" presName="root2" presStyleCnt="0"/>
      <dgm:spPr/>
    </dgm:pt>
    <dgm:pt modelId="{DE53E6FF-8053-4340-BBC3-BBFB0CB950E3}" type="pres">
      <dgm:prSet presAssocID="{24EEC066-2A0A-4537-941F-9A0621956B49}" presName="LevelTwoTextNode" presStyleLbl="node4" presStyleIdx="2" presStyleCnt="7">
        <dgm:presLayoutVars>
          <dgm:chPref val="3"/>
        </dgm:presLayoutVars>
      </dgm:prSet>
      <dgm:spPr/>
    </dgm:pt>
    <dgm:pt modelId="{F374AF61-9A93-424E-9A2F-9CA11E3083BD}" type="pres">
      <dgm:prSet presAssocID="{24EEC066-2A0A-4537-941F-9A0621956B49}" presName="level3hierChild" presStyleCnt="0"/>
      <dgm:spPr/>
    </dgm:pt>
    <dgm:pt modelId="{9722A232-C995-43BC-92E2-A31941DEDBDC}" type="pres">
      <dgm:prSet presAssocID="{C9BD3022-12DF-4C70-8E59-09FFEE9E4FDF}" presName="conn2-1" presStyleLbl="parChTrans1D4" presStyleIdx="3" presStyleCnt="7"/>
      <dgm:spPr/>
    </dgm:pt>
    <dgm:pt modelId="{FBF51F1B-1645-4210-BAD1-37B7F3953B30}" type="pres">
      <dgm:prSet presAssocID="{C9BD3022-12DF-4C70-8E59-09FFEE9E4FDF}" presName="connTx" presStyleLbl="parChTrans1D4" presStyleIdx="3" presStyleCnt="7"/>
      <dgm:spPr/>
    </dgm:pt>
    <dgm:pt modelId="{A62B6C0C-0C95-4022-BAFF-3BFB0388B811}" type="pres">
      <dgm:prSet presAssocID="{9515CE4E-7444-40EB-93A4-CDE98862AC6A}" presName="root2" presStyleCnt="0"/>
      <dgm:spPr/>
    </dgm:pt>
    <dgm:pt modelId="{90246D3B-7CFF-4286-B91D-370AB937192B}" type="pres">
      <dgm:prSet presAssocID="{9515CE4E-7444-40EB-93A4-CDE98862AC6A}" presName="LevelTwoTextNode" presStyleLbl="node4" presStyleIdx="3" presStyleCnt="7">
        <dgm:presLayoutVars>
          <dgm:chPref val="3"/>
        </dgm:presLayoutVars>
      </dgm:prSet>
      <dgm:spPr/>
    </dgm:pt>
    <dgm:pt modelId="{7C594E4B-9636-4B15-A2E6-0ABB1365BC23}" type="pres">
      <dgm:prSet presAssocID="{9515CE4E-7444-40EB-93A4-CDE98862AC6A}" presName="level3hierChild" presStyleCnt="0"/>
      <dgm:spPr/>
    </dgm:pt>
    <dgm:pt modelId="{C048F627-A16E-441F-BE95-82699C43DB92}" type="pres">
      <dgm:prSet presAssocID="{508F0CC1-6B0D-475C-8038-BE5018FD719C}" presName="conn2-1" presStyleLbl="parChTrans1D3" presStyleIdx="1" presStyleCnt="4"/>
      <dgm:spPr/>
    </dgm:pt>
    <dgm:pt modelId="{0EF8B926-06FB-4F2B-B240-D9321F6743D1}" type="pres">
      <dgm:prSet presAssocID="{508F0CC1-6B0D-475C-8038-BE5018FD719C}" presName="connTx" presStyleLbl="parChTrans1D3" presStyleIdx="1" presStyleCnt="4"/>
      <dgm:spPr/>
    </dgm:pt>
    <dgm:pt modelId="{86F849E1-FD0C-49CA-8437-B142209AD084}" type="pres">
      <dgm:prSet presAssocID="{B2FF7F00-EA45-4EE6-89D7-380CF5E6B833}" presName="root2" presStyleCnt="0"/>
      <dgm:spPr/>
    </dgm:pt>
    <dgm:pt modelId="{DB0624BA-3CD6-4834-9F25-7EBE37F63C46}" type="pres">
      <dgm:prSet presAssocID="{B2FF7F00-EA45-4EE6-89D7-380CF5E6B833}" presName="LevelTwoTextNode" presStyleLbl="node3" presStyleIdx="1" presStyleCnt="4">
        <dgm:presLayoutVars>
          <dgm:chPref val="3"/>
        </dgm:presLayoutVars>
      </dgm:prSet>
      <dgm:spPr/>
    </dgm:pt>
    <dgm:pt modelId="{0B1D1EC3-63FE-455F-B63C-CE4519EE2AC3}" type="pres">
      <dgm:prSet presAssocID="{B2FF7F00-EA45-4EE6-89D7-380CF5E6B833}" presName="level3hierChild" presStyleCnt="0"/>
      <dgm:spPr/>
    </dgm:pt>
    <dgm:pt modelId="{EDC0D4A2-0AA7-41E9-B99B-8C152250EC05}" type="pres">
      <dgm:prSet presAssocID="{51101805-D104-40D9-A505-FC8C5699EB55}" presName="conn2-1" presStyleLbl="parChTrans1D4" presStyleIdx="4" presStyleCnt="7"/>
      <dgm:spPr/>
    </dgm:pt>
    <dgm:pt modelId="{359C9019-811F-45D6-9E46-EA0B63D05CEF}" type="pres">
      <dgm:prSet presAssocID="{51101805-D104-40D9-A505-FC8C5699EB55}" presName="connTx" presStyleLbl="parChTrans1D4" presStyleIdx="4" presStyleCnt="7"/>
      <dgm:spPr/>
    </dgm:pt>
    <dgm:pt modelId="{B8AB448F-8E7F-4C80-9E64-2F39E96E53A0}" type="pres">
      <dgm:prSet presAssocID="{20E21E3E-A841-4758-8DDA-E8E3F7D9552A}" presName="root2" presStyleCnt="0"/>
      <dgm:spPr/>
    </dgm:pt>
    <dgm:pt modelId="{76A8198E-A103-4ED6-8C85-2368D377D598}" type="pres">
      <dgm:prSet presAssocID="{20E21E3E-A841-4758-8DDA-E8E3F7D9552A}" presName="LevelTwoTextNode" presStyleLbl="node4" presStyleIdx="4" presStyleCnt="7">
        <dgm:presLayoutVars>
          <dgm:chPref val="3"/>
        </dgm:presLayoutVars>
      </dgm:prSet>
      <dgm:spPr/>
    </dgm:pt>
    <dgm:pt modelId="{10600C33-3C7D-4D72-8F72-3570B6A8C34F}" type="pres">
      <dgm:prSet presAssocID="{20E21E3E-A841-4758-8DDA-E8E3F7D9552A}" presName="level3hierChild" presStyleCnt="0"/>
      <dgm:spPr/>
    </dgm:pt>
    <dgm:pt modelId="{6C9636C7-2499-4F2B-852A-AC08ABF57691}" type="pres">
      <dgm:prSet presAssocID="{579E95F2-699E-4DF4-ABDB-69F40A4D0FA7}" presName="conn2-1" presStyleLbl="parChTrans1D2" presStyleIdx="1" presStyleCnt="2"/>
      <dgm:spPr/>
    </dgm:pt>
    <dgm:pt modelId="{8C85D2C7-3DA9-4A7E-9C3F-11423D9AD7EB}" type="pres">
      <dgm:prSet presAssocID="{579E95F2-699E-4DF4-ABDB-69F40A4D0FA7}" presName="connTx" presStyleLbl="parChTrans1D2" presStyleIdx="1" presStyleCnt="2"/>
      <dgm:spPr/>
    </dgm:pt>
    <dgm:pt modelId="{4D0E5ADC-6D1D-4B1D-A05F-ECCEEADFA1D9}" type="pres">
      <dgm:prSet presAssocID="{F2E891F4-E21F-4B33-8DA6-C688BB7BCDF1}" presName="root2" presStyleCnt="0"/>
      <dgm:spPr/>
    </dgm:pt>
    <dgm:pt modelId="{684602D2-1D85-4FF4-8913-BFFF9DD703E8}" type="pres">
      <dgm:prSet presAssocID="{F2E891F4-E21F-4B33-8DA6-C688BB7BCDF1}" presName="LevelTwoTextNode" presStyleLbl="node2" presStyleIdx="1" presStyleCnt="2">
        <dgm:presLayoutVars>
          <dgm:chPref val="3"/>
        </dgm:presLayoutVars>
      </dgm:prSet>
      <dgm:spPr/>
    </dgm:pt>
    <dgm:pt modelId="{CAE1E0DF-964D-44B8-A168-92E419D98E84}" type="pres">
      <dgm:prSet presAssocID="{F2E891F4-E21F-4B33-8DA6-C688BB7BCDF1}" presName="level3hierChild" presStyleCnt="0"/>
      <dgm:spPr/>
    </dgm:pt>
    <dgm:pt modelId="{9FE69F9C-51EE-4341-8F5F-9CC37E67BEE2}" type="pres">
      <dgm:prSet presAssocID="{6B0EE9CD-2E95-43B5-BE66-F30E0DE245CD}" presName="conn2-1" presStyleLbl="parChTrans1D3" presStyleIdx="2" presStyleCnt="4"/>
      <dgm:spPr/>
    </dgm:pt>
    <dgm:pt modelId="{D90C403B-E1E3-4C27-8C4C-0E38D06A93AF}" type="pres">
      <dgm:prSet presAssocID="{6B0EE9CD-2E95-43B5-BE66-F30E0DE245CD}" presName="connTx" presStyleLbl="parChTrans1D3" presStyleIdx="2" presStyleCnt="4"/>
      <dgm:spPr/>
    </dgm:pt>
    <dgm:pt modelId="{9A2E2C7D-8F0B-4799-A383-740F0166F414}" type="pres">
      <dgm:prSet presAssocID="{EC6D79AC-9674-4E1E-9127-D8464F99866F}" presName="root2" presStyleCnt="0"/>
      <dgm:spPr/>
    </dgm:pt>
    <dgm:pt modelId="{8454E545-8B1A-4930-A9A9-C602660A793D}" type="pres">
      <dgm:prSet presAssocID="{EC6D79AC-9674-4E1E-9127-D8464F99866F}" presName="LevelTwoTextNode" presStyleLbl="node3" presStyleIdx="2" presStyleCnt="4">
        <dgm:presLayoutVars>
          <dgm:chPref val="3"/>
        </dgm:presLayoutVars>
      </dgm:prSet>
      <dgm:spPr/>
    </dgm:pt>
    <dgm:pt modelId="{4F38B967-2699-4794-B9A9-9DFFC6B303DD}" type="pres">
      <dgm:prSet presAssocID="{EC6D79AC-9674-4E1E-9127-D8464F99866F}" presName="level3hierChild" presStyleCnt="0"/>
      <dgm:spPr/>
    </dgm:pt>
    <dgm:pt modelId="{817C6FF2-65ED-4BA3-9B31-F6061CC281AD}" type="pres">
      <dgm:prSet presAssocID="{77EFAE13-B4AC-442C-89FF-61F9237F9526}" presName="conn2-1" presStyleLbl="parChTrans1D4" presStyleIdx="5" presStyleCnt="7"/>
      <dgm:spPr/>
    </dgm:pt>
    <dgm:pt modelId="{4D5A1666-C37A-4F26-84BD-DD23793E895D}" type="pres">
      <dgm:prSet presAssocID="{77EFAE13-B4AC-442C-89FF-61F9237F9526}" presName="connTx" presStyleLbl="parChTrans1D4" presStyleIdx="5" presStyleCnt="7"/>
      <dgm:spPr/>
    </dgm:pt>
    <dgm:pt modelId="{703D483A-3557-443F-BD60-344A388ED41D}" type="pres">
      <dgm:prSet presAssocID="{2BBF0687-B095-4F0A-A1BE-09C5936255FC}" presName="root2" presStyleCnt="0"/>
      <dgm:spPr/>
    </dgm:pt>
    <dgm:pt modelId="{CF03E51F-14B7-49E6-83FE-176353D8ECA8}" type="pres">
      <dgm:prSet presAssocID="{2BBF0687-B095-4F0A-A1BE-09C5936255FC}" presName="LevelTwoTextNode" presStyleLbl="node4" presStyleIdx="5" presStyleCnt="7">
        <dgm:presLayoutVars>
          <dgm:chPref val="3"/>
        </dgm:presLayoutVars>
      </dgm:prSet>
      <dgm:spPr/>
    </dgm:pt>
    <dgm:pt modelId="{BAB597D0-EDD1-4E4C-AA18-494101235E7F}" type="pres">
      <dgm:prSet presAssocID="{2BBF0687-B095-4F0A-A1BE-09C5936255FC}" presName="level3hierChild" presStyleCnt="0"/>
      <dgm:spPr/>
    </dgm:pt>
    <dgm:pt modelId="{7C518A94-1528-4C35-B34E-3D2730B7BAA1}" type="pres">
      <dgm:prSet presAssocID="{5398DBD6-1A2B-4A83-A486-BA8B545F3E03}" presName="conn2-1" presStyleLbl="parChTrans1D3" presStyleIdx="3" presStyleCnt="4"/>
      <dgm:spPr/>
    </dgm:pt>
    <dgm:pt modelId="{9153FE2B-610F-4C07-8D67-8D69CB1CC9CD}" type="pres">
      <dgm:prSet presAssocID="{5398DBD6-1A2B-4A83-A486-BA8B545F3E03}" presName="connTx" presStyleLbl="parChTrans1D3" presStyleIdx="3" presStyleCnt="4"/>
      <dgm:spPr/>
    </dgm:pt>
    <dgm:pt modelId="{4ED6CA49-F441-4902-A77C-034561EA2945}" type="pres">
      <dgm:prSet presAssocID="{FB66839C-B554-45FE-BAEE-352410A4C12D}" presName="root2" presStyleCnt="0"/>
      <dgm:spPr/>
    </dgm:pt>
    <dgm:pt modelId="{727EE19F-11FB-4DA9-88EF-6AEFD77BCF4A}" type="pres">
      <dgm:prSet presAssocID="{FB66839C-B554-45FE-BAEE-352410A4C12D}" presName="LevelTwoTextNode" presStyleLbl="node3" presStyleIdx="3" presStyleCnt="4">
        <dgm:presLayoutVars>
          <dgm:chPref val="3"/>
        </dgm:presLayoutVars>
      </dgm:prSet>
      <dgm:spPr/>
    </dgm:pt>
    <dgm:pt modelId="{053B9F16-9660-4005-BA3C-300949F993EE}" type="pres">
      <dgm:prSet presAssocID="{FB66839C-B554-45FE-BAEE-352410A4C12D}" presName="level3hierChild" presStyleCnt="0"/>
      <dgm:spPr/>
    </dgm:pt>
    <dgm:pt modelId="{1466BECD-2692-4786-AD54-872B3C8C30CC}" type="pres">
      <dgm:prSet presAssocID="{BA1E47FE-BE74-4B2C-8383-84C31F0201A4}" presName="conn2-1" presStyleLbl="parChTrans1D4" presStyleIdx="6" presStyleCnt="7"/>
      <dgm:spPr/>
    </dgm:pt>
    <dgm:pt modelId="{3F5D9EDB-D09C-4B58-8528-A790A2E0C8FD}" type="pres">
      <dgm:prSet presAssocID="{BA1E47FE-BE74-4B2C-8383-84C31F0201A4}" presName="connTx" presStyleLbl="parChTrans1D4" presStyleIdx="6" presStyleCnt="7"/>
      <dgm:spPr/>
    </dgm:pt>
    <dgm:pt modelId="{865E00D5-61D2-4423-9F0D-4653C5B53AFB}" type="pres">
      <dgm:prSet presAssocID="{B73B9113-27D1-4E4E-87D1-57BE3028916C}" presName="root2" presStyleCnt="0"/>
      <dgm:spPr/>
    </dgm:pt>
    <dgm:pt modelId="{ABE652F6-97EC-42D9-8CD8-540BE506F0DE}" type="pres">
      <dgm:prSet presAssocID="{B73B9113-27D1-4E4E-87D1-57BE3028916C}" presName="LevelTwoTextNode" presStyleLbl="node4" presStyleIdx="6" presStyleCnt="7">
        <dgm:presLayoutVars>
          <dgm:chPref val="3"/>
        </dgm:presLayoutVars>
      </dgm:prSet>
      <dgm:spPr/>
    </dgm:pt>
    <dgm:pt modelId="{02F1C038-E2D2-4A09-BACD-C095D520CB68}" type="pres">
      <dgm:prSet presAssocID="{B73B9113-27D1-4E4E-87D1-57BE3028916C}" presName="level3hierChild" presStyleCnt="0"/>
      <dgm:spPr/>
    </dgm:pt>
  </dgm:ptLst>
  <dgm:cxnLst>
    <dgm:cxn modelId="{05A33701-6B90-4A5B-AE34-8EFE21C5873B}" type="presOf" srcId="{9515CE4E-7444-40EB-93A4-CDE98862AC6A}" destId="{90246D3B-7CFF-4286-B91D-370AB937192B}" srcOrd="0" destOrd="0" presId="urn:microsoft.com/office/officeart/2005/8/layout/hierarchy2"/>
    <dgm:cxn modelId="{01F5AA0A-10F4-425D-9C53-8B5AF26AC0B2}" type="presOf" srcId="{BDE809B0-70AC-4BFC-8CAB-586FB741C3F8}" destId="{A49805BE-C9B6-4B1D-844D-DAF0B1AD8566}" srcOrd="0" destOrd="0" presId="urn:microsoft.com/office/officeart/2005/8/layout/hierarchy2"/>
    <dgm:cxn modelId="{B954F00C-4528-4DDA-BC92-24C5914992C7}" type="presOf" srcId="{24EEC066-2A0A-4537-941F-9A0621956B49}" destId="{DE53E6FF-8053-4340-BBC3-BBFB0CB950E3}" srcOrd="0" destOrd="0" presId="urn:microsoft.com/office/officeart/2005/8/layout/hierarchy2"/>
    <dgm:cxn modelId="{A9BA350D-126D-4900-8C53-3BFB8D3BACAB}" type="presOf" srcId="{BA1E47FE-BE74-4B2C-8383-84C31F0201A4}" destId="{1466BECD-2692-4786-AD54-872B3C8C30CC}" srcOrd="0" destOrd="0" presId="urn:microsoft.com/office/officeart/2005/8/layout/hierarchy2"/>
    <dgm:cxn modelId="{4D84010F-BAB5-42CC-BD99-1DDD4FEF3369}" srcId="{A0D536EA-FCA4-4D02-B69F-F5A7FC700069}" destId="{BCB54F11-E6C0-4C2D-96CA-42EB992D02C6}" srcOrd="0" destOrd="0" parTransId="{E093BDD2-87E5-4048-8CBB-5A7DDB90E422}" sibTransId="{3171C63B-07FF-4437-B14F-142ED5A8A4C7}"/>
    <dgm:cxn modelId="{434EA90F-FF0C-4C48-A20A-9D34A81F4D57}" type="presOf" srcId="{51101805-D104-40D9-A505-FC8C5699EB55}" destId="{359C9019-811F-45D6-9E46-EA0B63D05CEF}" srcOrd="1" destOrd="0" presId="urn:microsoft.com/office/officeart/2005/8/layout/hierarchy2"/>
    <dgm:cxn modelId="{29A59410-C963-4D4E-BAB5-2ABE7B50E917}" type="presOf" srcId="{579E95F2-699E-4DF4-ABDB-69F40A4D0FA7}" destId="{6C9636C7-2499-4F2B-852A-AC08ABF57691}" srcOrd="0" destOrd="0" presId="urn:microsoft.com/office/officeart/2005/8/layout/hierarchy2"/>
    <dgm:cxn modelId="{E1824F13-CC3B-4D10-A29F-33BB3676ECC1}" type="presOf" srcId="{51101805-D104-40D9-A505-FC8C5699EB55}" destId="{EDC0D4A2-0AA7-41E9-B99B-8C152250EC05}" srcOrd="0" destOrd="0" presId="urn:microsoft.com/office/officeart/2005/8/layout/hierarchy2"/>
    <dgm:cxn modelId="{33880D19-A018-43C2-AA91-83E18C2A2177}" type="presOf" srcId="{C1EB25B0-C434-41E8-BFF3-BA9C82948CDB}" destId="{F42279E6-F0AF-42CD-B05C-E5BBB0D238BC}" srcOrd="1" destOrd="0" presId="urn:microsoft.com/office/officeart/2005/8/layout/hierarchy2"/>
    <dgm:cxn modelId="{D3365A27-076C-407C-AD4D-31062F090F44}" type="presOf" srcId="{508F0CC1-6B0D-475C-8038-BE5018FD719C}" destId="{C048F627-A16E-441F-BE95-82699C43DB92}" srcOrd="0" destOrd="0" presId="urn:microsoft.com/office/officeart/2005/8/layout/hierarchy2"/>
    <dgm:cxn modelId="{34ED6328-27A9-4B7A-A12D-4879F6651040}" type="presOf" srcId="{F2E891F4-E21F-4B33-8DA6-C688BB7BCDF1}" destId="{684602D2-1D85-4FF4-8913-BFFF9DD703E8}" srcOrd="0" destOrd="0" presId="urn:microsoft.com/office/officeart/2005/8/layout/hierarchy2"/>
    <dgm:cxn modelId="{44712C33-E542-41E8-9847-0704425EEFC5}" srcId="{5B04D0A6-1A3B-42FB-A69E-8963AE4F499F}" destId="{A0D536EA-FCA4-4D02-B69F-F5A7FC700069}" srcOrd="0" destOrd="0" parTransId="{37159368-7558-4D0F-A132-905783D58D12}" sibTransId="{649AB15E-AD08-47BD-9ECA-D5419AA8F8E7}"/>
    <dgm:cxn modelId="{5D428F38-1D36-436F-BD3C-D904216DA8AD}" type="presOf" srcId="{2BBF0687-B095-4F0A-A1BE-09C5936255FC}" destId="{CF03E51F-14B7-49E6-83FE-176353D8ECA8}" srcOrd="0" destOrd="0" presId="urn:microsoft.com/office/officeart/2005/8/layout/hierarchy2"/>
    <dgm:cxn modelId="{53D6F639-2380-4DCA-A136-3E93A3C7CCAF}" type="presOf" srcId="{579E95F2-699E-4DF4-ABDB-69F40A4D0FA7}" destId="{8C85D2C7-3DA9-4A7E-9C3F-11423D9AD7EB}" srcOrd="1" destOrd="0" presId="urn:microsoft.com/office/officeart/2005/8/layout/hierarchy2"/>
    <dgm:cxn modelId="{A5ED835E-5F2C-4669-AE20-D10308B2E2DA}" type="presOf" srcId="{BDE809B0-70AC-4BFC-8CAB-586FB741C3F8}" destId="{E4D2591A-80D1-4F5F-ABDB-EB62F22AD203}" srcOrd="1" destOrd="0" presId="urn:microsoft.com/office/officeart/2005/8/layout/hierarchy2"/>
    <dgm:cxn modelId="{C4C1E841-A0BA-408E-8BBD-D4173BED8814}" srcId="{B2FF7F00-EA45-4EE6-89D7-380CF5E6B833}" destId="{20E21E3E-A841-4758-8DDA-E8E3F7D9552A}" srcOrd="0" destOrd="0" parTransId="{51101805-D104-40D9-A505-FC8C5699EB55}" sibTransId="{8DAA2DD2-412C-4328-BBB6-A4AD04F4DD83}"/>
    <dgm:cxn modelId="{A7FC6C64-44A7-4E12-90F7-C2D17991F1F5}" srcId="{E527F988-260F-4D3E-9B7D-99895090B59C}" destId="{24EEC066-2A0A-4537-941F-9A0621956B49}" srcOrd="1" destOrd="0" parTransId="{DC6411BD-2E51-41F8-B18B-C846C02A4771}" sibTransId="{24E8AC2C-81B9-460C-909D-E2F2C7BEA7F4}"/>
    <dgm:cxn modelId="{7214EC45-A706-4341-8336-E3657E2C2419}" srcId="{24EEC066-2A0A-4537-941F-9A0621956B49}" destId="{9515CE4E-7444-40EB-93A4-CDE98862AC6A}" srcOrd="0" destOrd="0" parTransId="{C9BD3022-12DF-4C70-8E59-09FFEE9E4FDF}" sibTransId="{5D4110DA-07BA-4F3D-AFD5-8998664855EE}"/>
    <dgm:cxn modelId="{B572136A-4999-4624-92CC-78CD9328330E}" type="presOf" srcId="{20E21E3E-A841-4758-8DDA-E8E3F7D9552A}" destId="{76A8198E-A103-4ED6-8C85-2368D377D598}" srcOrd="0" destOrd="0" presId="urn:microsoft.com/office/officeart/2005/8/layout/hierarchy2"/>
    <dgm:cxn modelId="{3979E14A-6A1B-4C78-B12B-B7F20EB2B772}" type="presOf" srcId="{763E9E80-693A-4235-87E4-A5AF017B577A}" destId="{FEFB87AA-B9A6-44B1-AEC9-3771863FB7A4}" srcOrd="1" destOrd="0" presId="urn:microsoft.com/office/officeart/2005/8/layout/hierarchy2"/>
    <dgm:cxn modelId="{FDC88E4C-14C0-4E00-8060-D9EAD75047C8}" type="presOf" srcId="{A0D536EA-FCA4-4D02-B69F-F5A7FC700069}" destId="{49F26713-7102-4DBA-975A-66261E72AAEA}" srcOrd="0" destOrd="0" presId="urn:microsoft.com/office/officeart/2005/8/layout/hierarchy2"/>
    <dgm:cxn modelId="{5848944C-60D1-4558-96BE-44FB4520E17C}" type="presOf" srcId="{508F0CC1-6B0D-475C-8038-BE5018FD719C}" destId="{0EF8B926-06FB-4F2B-B240-D9321F6743D1}" srcOrd="1" destOrd="0" presId="urn:microsoft.com/office/officeart/2005/8/layout/hierarchy2"/>
    <dgm:cxn modelId="{20C9D64D-7987-47EB-9730-6EA5CE78AC70}" type="presOf" srcId="{86209361-DAEF-409C-B9C3-11C70C948D08}" destId="{FE716DB4-7587-49B7-809D-5F1386BB1CD6}" srcOrd="0" destOrd="0" presId="urn:microsoft.com/office/officeart/2005/8/layout/hierarchy2"/>
    <dgm:cxn modelId="{0622FD6E-F6B4-47F0-B775-201611FD6CA0}" type="presOf" srcId="{B73B9113-27D1-4E4E-87D1-57BE3028916C}" destId="{ABE652F6-97EC-42D9-8CD8-540BE506F0DE}" srcOrd="0" destOrd="0" presId="urn:microsoft.com/office/officeart/2005/8/layout/hierarchy2"/>
    <dgm:cxn modelId="{714ABE70-BE94-4860-95EE-054F1974473F}" type="presOf" srcId="{E527F988-260F-4D3E-9B7D-99895090B59C}" destId="{8969B42D-6BC3-4B8A-936A-5F8A3F47BE5B}" srcOrd="0" destOrd="0" presId="urn:microsoft.com/office/officeart/2005/8/layout/hierarchy2"/>
    <dgm:cxn modelId="{891B6C58-B18D-46D9-99F6-58A59101DEDC}" type="presOf" srcId="{EC6D79AC-9674-4E1E-9127-D8464F99866F}" destId="{8454E545-8B1A-4930-A9A9-C602660A793D}" srcOrd="0" destOrd="0" presId="urn:microsoft.com/office/officeart/2005/8/layout/hierarchy2"/>
    <dgm:cxn modelId="{1A89297E-70C9-40A5-B10A-8849267DEB14}" type="presOf" srcId="{E093BDD2-87E5-4048-8CBB-5A7DDB90E422}" destId="{D696AC80-0CCD-4AF0-81E2-A5D510496D9C}" srcOrd="1" destOrd="0" presId="urn:microsoft.com/office/officeart/2005/8/layout/hierarchy2"/>
    <dgm:cxn modelId="{37DE2C7E-822D-453D-8C7B-717037049026}" type="presOf" srcId="{5398DBD6-1A2B-4A83-A486-BA8B545F3E03}" destId="{7C518A94-1528-4C35-B34E-3D2730B7BAA1}" srcOrd="0" destOrd="0" presId="urn:microsoft.com/office/officeart/2005/8/layout/hierarchy2"/>
    <dgm:cxn modelId="{C19A0081-13F5-4854-BEF2-BC0908D00B8A}" type="presOf" srcId="{C9BD3022-12DF-4C70-8E59-09FFEE9E4FDF}" destId="{9722A232-C995-43BC-92E2-A31941DEDBDC}" srcOrd="0" destOrd="0" presId="urn:microsoft.com/office/officeart/2005/8/layout/hierarchy2"/>
    <dgm:cxn modelId="{47E42B82-40A7-436F-8714-8B0ED01A437C}" type="presOf" srcId="{77EFAE13-B4AC-442C-89FF-61F9237F9526}" destId="{817C6FF2-65ED-4BA3-9B31-F6061CC281AD}" srcOrd="0" destOrd="0" presId="urn:microsoft.com/office/officeart/2005/8/layout/hierarchy2"/>
    <dgm:cxn modelId="{ACF4008B-B60B-43F1-80C2-8AFB0022F2FA}" srcId="{EC6D79AC-9674-4E1E-9127-D8464F99866F}" destId="{2BBF0687-B095-4F0A-A1BE-09C5936255FC}" srcOrd="0" destOrd="0" parTransId="{77EFAE13-B4AC-442C-89FF-61F9237F9526}" sibTransId="{F0791A44-A963-4E97-9D5C-C0A98E53E609}"/>
    <dgm:cxn modelId="{E316C08D-A719-46C5-8F8F-000E50BEA3FB}" type="presOf" srcId="{BCB54F11-E6C0-4C2D-96CA-42EB992D02C6}" destId="{D9079FC4-084B-417F-9031-4C416C90D2F1}" srcOrd="0" destOrd="0" presId="urn:microsoft.com/office/officeart/2005/8/layout/hierarchy2"/>
    <dgm:cxn modelId="{EA491791-4C3E-4C58-ABE4-1863B5368C18}" type="presOf" srcId="{BA1E47FE-BE74-4B2C-8383-84C31F0201A4}" destId="{3F5D9EDB-D09C-4B58-8528-A790A2E0C8FD}" srcOrd="1" destOrd="0" presId="urn:microsoft.com/office/officeart/2005/8/layout/hierarchy2"/>
    <dgm:cxn modelId="{96CCA792-36BF-4CE7-A4FD-246A7680C3B2}" type="presOf" srcId="{C9BD3022-12DF-4C70-8E59-09FFEE9E4FDF}" destId="{FBF51F1B-1645-4210-BAD1-37B7F3953B30}" srcOrd="1" destOrd="0" presId="urn:microsoft.com/office/officeart/2005/8/layout/hierarchy2"/>
    <dgm:cxn modelId="{E8C9EE92-D398-488A-9A59-85D936AEFDF3}" srcId="{F2E891F4-E21F-4B33-8DA6-C688BB7BCDF1}" destId="{EC6D79AC-9674-4E1E-9127-D8464F99866F}" srcOrd="0" destOrd="0" parTransId="{6B0EE9CD-2E95-43B5-BE66-F30E0DE245CD}" sibTransId="{76C5F491-7509-4CB5-8A73-22CED7FBB6F9}"/>
    <dgm:cxn modelId="{2F4CD196-AA8F-4BE8-AE40-5664EC8BFEC0}" type="presOf" srcId="{5398DBD6-1A2B-4A83-A486-BA8B545F3E03}" destId="{9153FE2B-610F-4C07-8D67-8D69CB1CC9CD}" srcOrd="1" destOrd="0" presId="urn:microsoft.com/office/officeart/2005/8/layout/hierarchy2"/>
    <dgm:cxn modelId="{AD7E4EA4-F0FB-4478-A62B-A121B157670E}" type="presOf" srcId="{E093BDD2-87E5-4048-8CBB-5A7DDB90E422}" destId="{18AAF45A-A872-4892-BC2E-4A48F7461E51}" srcOrd="0" destOrd="0" presId="urn:microsoft.com/office/officeart/2005/8/layout/hierarchy2"/>
    <dgm:cxn modelId="{C7EE24A5-003D-4B6B-B63F-E45AB45F23CD}" type="presOf" srcId="{5B04D0A6-1A3B-42FB-A69E-8963AE4F499F}" destId="{E4FA29CC-0A41-474F-ACF4-D5BBDAEE26C9}" srcOrd="0" destOrd="0" presId="urn:microsoft.com/office/officeart/2005/8/layout/hierarchy2"/>
    <dgm:cxn modelId="{EB3F0AAA-B425-4C21-BFF6-730B9479506D}" type="presOf" srcId="{6B0EE9CD-2E95-43B5-BE66-F30E0DE245CD}" destId="{D90C403B-E1E3-4C27-8C4C-0E38D06A93AF}" srcOrd="1" destOrd="0" presId="urn:microsoft.com/office/officeart/2005/8/layout/hierarchy2"/>
    <dgm:cxn modelId="{4D8C42AC-593E-4EFB-9A6A-2A96825FEAD7}" type="presOf" srcId="{B2FF7F00-EA45-4EE6-89D7-380CF5E6B833}" destId="{DB0624BA-3CD6-4834-9F25-7EBE37F63C46}" srcOrd="0" destOrd="0" presId="urn:microsoft.com/office/officeart/2005/8/layout/hierarchy2"/>
    <dgm:cxn modelId="{99C5B1AC-1769-422C-A532-5BB2EDD09DDE}" type="presOf" srcId="{77EFAE13-B4AC-442C-89FF-61F9237F9526}" destId="{4D5A1666-C37A-4F26-84BD-DD23793E895D}" srcOrd="1" destOrd="0" presId="urn:microsoft.com/office/officeart/2005/8/layout/hierarchy2"/>
    <dgm:cxn modelId="{4E6967AE-A73C-4069-B574-1F9AC8A8F3F7}" type="presOf" srcId="{C1EB25B0-C434-41E8-BFF3-BA9C82948CDB}" destId="{3BECF918-4C3C-43E0-BF8A-E565DB2BF452}" srcOrd="0" destOrd="0" presId="urn:microsoft.com/office/officeart/2005/8/layout/hierarchy2"/>
    <dgm:cxn modelId="{21E51FB0-3E45-4F25-A080-75D26FD7DDEA}" srcId="{F2E891F4-E21F-4B33-8DA6-C688BB7BCDF1}" destId="{FB66839C-B554-45FE-BAEE-352410A4C12D}" srcOrd="1" destOrd="0" parTransId="{5398DBD6-1A2B-4A83-A486-BA8B545F3E03}" sibTransId="{5B5C86DE-FDDB-41DD-8E48-79F590579DDC}"/>
    <dgm:cxn modelId="{60FB1FB3-3494-4F7A-8536-B34C1B6308B8}" type="presOf" srcId="{DC6411BD-2E51-41F8-B18B-C846C02A4771}" destId="{2B6D0068-6FE3-4E8F-9B82-B843E2583135}" srcOrd="0" destOrd="0" presId="urn:microsoft.com/office/officeart/2005/8/layout/hierarchy2"/>
    <dgm:cxn modelId="{4C76A7B3-5E0D-41EE-A682-651DD6EB2CE0}" srcId="{E527F988-260F-4D3E-9B7D-99895090B59C}" destId="{86209361-DAEF-409C-B9C3-11C70C948D08}" srcOrd="0" destOrd="0" parTransId="{C1EB25B0-C434-41E8-BFF3-BA9C82948CDB}" sibTransId="{9F94CF4A-AF96-4B57-9F3F-079EFC94154E}"/>
    <dgm:cxn modelId="{972979B6-CC79-4EEA-BC52-9BEC8794E4D5}" srcId="{86209361-DAEF-409C-B9C3-11C70C948D08}" destId="{A753D3EE-876E-4DCA-8335-F51286301122}" srcOrd="0" destOrd="0" parTransId="{763E9E80-693A-4235-87E4-A5AF017B577A}" sibTransId="{02BF3BD8-BDDF-42AE-A1FF-C85D257D4FEC}"/>
    <dgm:cxn modelId="{593714B7-FA69-4513-B4C2-FA54B3D93BDA}" srcId="{BCB54F11-E6C0-4C2D-96CA-42EB992D02C6}" destId="{B2FF7F00-EA45-4EE6-89D7-380CF5E6B833}" srcOrd="1" destOrd="0" parTransId="{508F0CC1-6B0D-475C-8038-BE5018FD719C}" sibTransId="{F013F887-1EFD-44ED-B359-F8CEEEA1A61F}"/>
    <dgm:cxn modelId="{93DB88BF-3F47-4FF0-91AC-CC2A36EECF21}" srcId="{A0D536EA-FCA4-4D02-B69F-F5A7FC700069}" destId="{F2E891F4-E21F-4B33-8DA6-C688BB7BCDF1}" srcOrd="1" destOrd="0" parTransId="{579E95F2-699E-4DF4-ABDB-69F40A4D0FA7}" sibTransId="{4D50CBFD-DAAC-45FD-8220-F7132C6B2818}"/>
    <dgm:cxn modelId="{061A43C6-2E7E-478D-BBAF-E3106BD86CC2}" srcId="{FB66839C-B554-45FE-BAEE-352410A4C12D}" destId="{B73B9113-27D1-4E4E-87D1-57BE3028916C}" srcOrd="0" destOrd="0" parTransId="{BA1E47FE-BE74-4B2C-8383-84C31F0201A4}" sibTransId="{1A686656-1927-4A74-918E-AD23C71C2B32}"/>
    <dgm:cxn modelId="{947304CC-9687-4716-AB19-A4BDB6ACB069}" type="presOf" srcId="{DC6411BD-2E51-41F8-B18B-C846C02A4771}" destId="{F3C1857D-F576-438C-99DD-BE2F6F40EB6F}" srcOrd="1" destOrd="0" presId="urn:microsoft.com/office/officeart/2005/8/layout/hierarchy2"/>
    <dgm:cxn modelId="{E8D366CC-5C2A-463A-9041-841E10E5F4A8}" srcId="{BCB54F11-E6C0-4C2D-96CA-42EB992D02C6}" destId="{E527F988-260F-4D3E-9B7D-99895090B59C}" srcOrd="0" destOrd="0" parTransId="{BDE809B0-70AC-4BFC-8CAB-586FB741C3F8}" sibTransId="{E3502A46-028E-4A0D-BC02-7C21BC2F86F5}"/>
    <dgm:cxn modelId="{583AB2DC-F0B1-4931-8717-E3C7874F3DD0}" type="presOf" srcId="{FB66839C-B554-45FE-BAEE-352410A4C12D}" destId="{727EE19F-11FB-4DA9-88EF-6AEFD77BCF4A}" srcOrd="0" destOrd="0" presId="urn:microsoft.com/office/officeart/2005/8/layout/hierarchy2"/>
    <dgm:cxn modelId="{E108F4DF-83F5-478C-9B54-37660552002C}" type="presOf" srcId="{A753D3EE-876E-4DCA-8335-F51286301122}" destId="{1EDE3657-9361-45D4-8779-221B86CB8224}" srcOrd="0" destOrd="0" presId="urn:microsoft.com/office/officeart/2005/8/layout/hierarchy2"/>
    <dgm:cxn modelId="{6D56BFEF-3940-4EC9-9D07-3C83A55BA255}" type="presOf" srcId="{6B0EE9CD-2E95-43B5-BE66-F30E0DE245CD}" destId="{9FE69F9C-51EE-4341-8F5F-9CC37E67BEE2}" srcOrd="0" destOrd="0" presId="urn:microsoft.com/office/officeart/2005/8/layout/hierarchy2"/>
    <dgm:cxn modelId="{AED451F8-8EAA-4C18-B09E-8CB7C6A21BB9}" type="presOf" srcId="{763E9E80-693A-4235-87E4-A5AF017B577A}" destId="{3B9B0C84-CA2A-4B43-8B9F-23E48F48F101}" srcOrd="0" destOrd="0" presId="urn:microsoft.com/office/officeart/2005/8/layout/hierarchy2"/>
    <dgm:cxn modelId="{EE2CDF03-B874-4303-8A52-39A1DE3EE5B1}" type="presParOf" srcId="{E4FA29CC-0A41-474F-ACF4-D5BBDAEE26C9}" destId="{9449B6B0-6515-4A7E-AB61-3BE6DECB7B22}" srcOrd="0" destOrd="0" presId="urn:microsoft.com/office/officeart/2005/8/layout/hierarchy2"/>
    <dgm:cxn modelId="{01175764-B546-4EB0-A3B2-67FCD1BF00F5}" type="presParOf" srcId="{9449B6B0-6515-4A7E-AB61-3BE6DECB7B22}" destId="{49F26713-7102-4DBA-975A-66261E72AAEA}" srcOrd="0" destOrd="0" presId="urn:microsoft.com/office/officeart/2005/8/layout/hierarchy2"/>
    <dgm:cxn modelId="{39E33B60-1E15-43B5-9B10-6C1D524B2572}" type="presParOf" srcId="{9449B6B0-6515-4A7E-AB61-3BE6DECB7B22}" destId="{91A61326-9538-492A-9AC2-BD3DD0E188B9}" srcOrd="1" destOrd="0" presId="urn:microsoft.com/office/officeart/2005/8/layout/hierarchy2"/>
    <dgm:cxn modelId="{49C1BF1A-54CC-474A-AA65-B7C219D64EC6}" type="presParOf" srcId="{91A61326-9538-492A-9AC2-BD3DD0E188B9}" destId="{18AAF45A-A872-4892-BC2E-4A48F7461E51}" srcOrd="0" destOrd="0" presId="urn:microsoft.com/office/officeart/2005/8/layout/hierarchy2"/>
    <dgm:cxn modelId="{EB7BA911-86F1-4D36-AC5D-91D5BE005A4E}" type="presParOf" srcId="{18AAF45A-A872-4892-BC2E-4A48F7461E51}" destId="{D696AC80-0CCD-4AF0-81E2-A5D510496D9C}" srcOrd="0" destOrd="0" presId="urn:microsoft.com/office/officeart/2005/8/layout/hierarchy2"/>
    <dgm:cxn modelId="{1F5B8E85-0295-4D85-9D49-9183A82422A1}" type="presParOf" srcId="{91A61326-9538-492A-9AC2-BD3DD0E188B9}" destId="{9CB454F5-BA89-407E-97EA-400DA5C9F7B6}" srcOrd="1" destOrd="0" presId="urn:microsoft.com/office/officeart/2005/8/layout/hierarchy2"/>
    <dgm:cxn modelId="{4C67FBE0-2008-428C-A5B0-EC3FC5300DC8}" type="presParOf" srcId="{9CB454F5-BA89-407E-97EA-400DA5C9F7B6}" destId="{D9079FC4-084B-417F-9031-4C416C90D2F1}" srcOrd="0" destOrd="0" presId="urn:microsoft.com/office/officeart/2005/8/layout/hierarchy2"/>
    <dgm:cxn modelId="{DA2BE2EB-1797-405B-A2CB-66F1A246493B}" type="presParOf" srcId="{9CB454F5-BA89-407E-97EA-400DA5C9F7B6}" destId="{971AB681-BD7C-4291-AE02-11967217D969}" srcOrd="1" destOrd="0" presId="urn:microsoft.com/office/officeart/2005/8/layout/hierarchy2"/>
    <dgm:cxn modelId="{7E8DDF63-E418-4D72-8501-753CAD024C27}" type="presParOf" srcId="{971AB681-BD7C-4291-AE02-11967217D969}" destId="{A49805BE-C9B6-4B1D-844D-DAF0B1AD8566}" srcOrd="0" destOrd="0" presId="urn:microsoft.com/office/officeart/2005/8/layout/hierarchy2"/>
    <dgm:cxn modelId="{B0F9BBE6-A832-4D80-835E-ACCF0E96AA08}" type="presParOf" srcId="{A49805BE-C9B6-4B1D-844D-DAF0B1AD8566}" destId="{E4D2591A-80D1-4F5F-ABDB-EB62F22AD203}" srcOrd="0" destOrd="0" presId="urn:microsoft.com/office/officeart/2005/8/layout/hierarchy2"/>
    <dgm:cxn modelId="{8E817EA3-2F9D-4E26-8930-43B40635DEB6}" type="presParOf" srcId="{971AB681-BD7C-4291-AE02-11967217D969}" destId="{D53ED68E-806E-4FB9-9173-A41F08989C30}" srcOrd="1" destOrd="0" presId="urn:microsoft.com/office/officeart/2005/8/layout/hierarchy2"/>
    <dgm:cxn modelId="{FC5360E5-18E0-47A9-BA99-622574AA79AD}" type="presParOf" srcId="{D53ED68E-806E-4FB9-9173-A41F08989C30}" destId="{8969B42D-6BC3-4B8A-936A-5F8A3F47BE5B}" srcOrd="0" destOrd="0" presId="urn:microsoft.com/office/officeart/2005/8/layout/hierarchy2"/>
    <dgm:cxn modelId="{85B45294-2A67-4119-A05E-42C4F7C8CBE5}" type="presParOf" srcId="{D53ED68E-806E-4FB9-9173-A41F08989C30}" destId="{8922CAB1-D6C5-4A28-9B75-A626E65EF6D9}" srcOrd="1" destOrd="0" presId="urn:microsoft.com/office/officeart/2005/8/layout/hierarchy2"/>
    <dgm:cxn modelId="{7D986B2F-0500-4058-A210-2EF9207F9949}" type="presParOf" srcId="{8922CAB1-D6C5-4A28-9B75-A626E65EF6D9}" destId="{3BECF918-4C3C-43E0-BF8A-E565DB2BF452}" srcOrd="0" destOrd="0" presId="urn:microsoft.com/office/officeart/2005/8/layout/hierarchy2"/>
    <dgm:cxn modelId="{89ADADF7-4C30-41FB-9253-20C0D1825597}" type="presParOf" srcId="{3BECF918-4C3C-43E0-BF8A-E565DB2BF452}" destId="{F42279E6-F0AF-42CD-B05C-E5BBB0D238BC}" srcOrd="0" destOrd="0" presId="urn:microsoft.com/office/officeart/2005/8/layout/hierarchy2"/>
    <dgm:cxn modelId="{BD97CDD4-A8EE-44DB-8DDB-055BAAFBD83C}" type="presParOf" srcId="{8922CAB1-D6C5-4A28-9B75-A626E65EF6D9}" destId="{16EB2D57-0F0A-421A-8B57-8F73B17CF7B5}" srcOrd="1" destOrd="0" presId="urn:microsoft.com/office/officeart/2005/8/layout/hierarchy2"/>
    <dgm:cxn modelId="{192BE4C3-FE52-4A36-BDC4-D25110A68ECB}" type="presParOf" srcId="{16EB2D57-0F0A-421A-8B57-8F73B17CF7B5}" destId="{FE716DB4-7587-49B7-809D-5F1386BB1CD6}" srcOrd="0" destOrd="0" presId="urn:microsoft.com/office/officeart/2005/8/layout/hierarchy2"/>
    <dgm:cxn modelId="{62633659-1FFB-445D-86F2-E40899630DD8}" type="presParOf" srcId="{16EB2D57-0F0A-421A-8B57-8F73B17CF7B5}" destId="{D3DE2682-A1D2-4AE1-AC6B-8F1CA760A1B5}" srcOrd="1" destOrd="0" presId="urn:microsoft.com/office/officeart/2005/8/layout/hierarchy2"/>
    <dgm:cxn modelId="{4D231408-1385-4EAF-80EE-2F1A149B7DFC}" type="presParOf" srcId="{D3DE2682-A1D2-4AE1-AC6B-8F1CA760A1B5}" destId="{3B9B0C84-CA2A-4B43-8B9F-23E48F48F101}" srcOrd="0" destOrd="0" presId="urn:microsoft.com/office/officeart/2005/8/layout/hierarchy2"/>
    <dgm:cxn modelId="{08E1CD06-E25B-4395-ACCA-1D129E686814}" type="presParOf" srcId="{3B9B0C84-CA2A-4B43-8B9F-23E48F48F101}" destId="{FEFB87AA-B9A6-44B1-AEC9-3771863FB7A4}" srcOrd="0" destOrd="0" presId="urn:microsoft.com/office/officeart/2005/8/layout/hierarchy2"/>
    <dgm:cxn modelId="{5C454A29-5336-49F9-B5CA-B8AFB6821729}" type="presParOf" srcId="{D3DE2682-A1D2-4AE1-AC6B-8F1CA760A1B5}" destId="{795505FA-D8DE-48D2-8AA1-265164B500CA}" srcOrd="1" destOrd="0" presId="urn:microsoft.com/office/officeart/2005/8/layout/hierarchy2"/>
    <dgm:cxn modelId="{CA9C7CF1-3EFB-49EF-975E-068B68B122F5}" type="presParOf" srcId="{795505FA-D8DE-48D2-8AA1-265164B500CA}" destId="{1EDE3657-9361-45D4-8779-221B86CB8224}" srcOrd="0" destOrd="0" presId="urn:microsoft.com/office/officeart/2005/8/layout/hierarchy2"/>
    <dgm:cxn modelId="{641DC7D7-2B91-4BFA-A16C-A5E8BD5E7163}" type="presParOf" srcId="{795505FA-D8DE-48D2-8AA1-265164B500CA}" destId="{F77E2F77-39E5-4BD0-82CB-FDE1E0EE62EE}" srcOrd="1" destOrd="0" presId="urn:microsoft.com/office/officeart/2005/8/layout/hierarchy2"/>
    <dgm:cxn modelId="{D579AF10-9BE7-4837-BCDD-B0C5B764EF20}" type="presParOf" srcId="{8922CAB1-D6C5-4A28-9B75-A626E65EF6D9}" destId="{2B6D0068-6FE3-4E8F-9B82-B843E2583135}" srcOrd="2" destOrd="0" presId="urn:microsoft.com/office/officeart/2005/8/layout/hierarchy2"/>
    <dgm:cxn modelId="{F7A0B48C-852D-44EB-9A79-46A62255BA88}" type="presParOf" srcId="{2B6D0068-6FE3-4E8F-9B82-B843E2583135}" destId="{F3C1857D-F576-438C-99DD-BE2F6F40EB6F}" srcOrd="0" destOrd="0" presId="urn:microsoft.com/office/officeart/2005/8/layout/hierarchy2"/>
    <dgm:cxn modelId="{B23E368D-1E20-4DF4-94A6-F89E12A819E6}" type="presParOf" srcId="{8922CAB1-D6C5-4A28-9B75-A626E65EF6D9}" destId="{5A3CD575-D74F-433D-8FFE-3DC26F21D393}" srcOrd="3" destOrd="0" presId="urn:microsoft.com/office/officeart/2005/8/layout/hierarchy2"/>
    <dgm:cxn modelId="{7D948DDA-0375-4709-AF36-34B9D0DB35A4}" type="presParOf" srcId="{5A3CD575-D74F-433D-8FFE-3DC26F21D393}" destId="{DE53E6FF-8053-4340-BBC3-BBFB0CB950E3}" srcOrd="0" destOrd="0" presId="urn:microsoft.com/office/officeart/2005/8/layout/hierarchy2"/>
    <dgm:cxn modelId="{088D34D9-17FE-4D20-8302-62D4967015ED}" type="presParOf" srcId="{5A3CD575-D74F-433D-8FFE-3DC26F21D393}" destId="{F374AF61-9A93-424E-9A2F-9CA11E3083BD}" srcOrd="1" destOrd="0" presId="urn:microsoft.com/office/officeart/2005/8/layout/hierarchy2"/>
    <dgm:cxn modelId="{C78BBECE-8675-430D-9DCD-586727EF7E99}" type="presParOf" srcId="{F374AF61-9A93-424E-9A2F-9CA11E3083BD}" destId="{9722A232-C995-43BC-92E2-A31941DEDBDC}" srcOrd="0" destOrd="0" presId="urn:microsoft.com/office/officeart/2005/8/layout/hierarchy2"/>
    <dgm:cxn modelId="{B6EFEA8A-580B-42EE-BFA5-E6C7F9FB4550}" type="presParOf" srcId="{9722A232-C995-43BC-92E2-A31941DEDBDC}" destId="{FBF51F1B-1645-4210-BAD1-37B7F3953B30}" srcOrd="0" destOrd="0" presId="urn:microsoft.com/office/officeart/2005/8/layout/hierarchy2"/>
    <dgm:cxn modelId="{6A11B39D-3449-4890-9E5A-7F861A127DB4}" type="presParOf" srcId="{F374AF61-9A93-424E-9A2F-9CA11E3083BD}" destId="{A62B6C0C-0C95-4022-BAFF-3BFB0388B811}" srcOrd="1" destOrd="0" presId="urn:microsoft.com/office/officeart/2005/8/layout/hierarchy2"/>
    <dgm:cxn modelId="{CC2BD01A-A189-4286-BF3C-F86DB314FC16}" type="presParOf" srcId="{A62B6C0C-0C95-4022-BAFF-3BFB0388B811}" destId="{90246D3B-7CFF-4286-B91D-370AB937192B}" srcOrd="0" destOrd="0" presId="urn:microsoft.com/office/officeart/2005/8/layout/hierarchy2"/>
    <dgm:cxn modelId="{7DEF89DE-2AFD-47FD-909E-C5EB13C402E9}" type="presParOf" srcId="{A62B6C0C-0C95-4022-BAFF-3BFB0388B811}" destId="{7C594E4B-9636-4B15-A2E6-0ABB1365BC23}" srcOrd="1" destOrd="0" presId="urn:microsoft.com/office/officeart/2005/8/layout/hierarchy2"/>
    <dgm:cxn modelId="{C6EEE44A-A5C7-41B3-93B9-FDF8F6439AA6}" type="presParOf" srcId="{971AB681-BD7C-4291-AE02-11967217D969}" destId="{C048F627-A16E-441F-BE95-82699C43DB92}" srcOrd="2" destOrd="0" presId="urn:microsoft.com/office/officeart/2005/8/layout/hierarchy2"/>
    <dgm:cxn modelId="{A1AFAFFC-62C5-4AB6-9B1A-55E1F0CA681F}" type="presParOf" srcId="{C048F627-A16E-441F-BE95-82699C43DB92}" destId="{0EF8B926-06FB-4F2B-B240-D9321F6743D1}" srcOrd="0" destOrd="0" presId="urn:microsoft.com/office/officeart/2005/8/layout/hierarchy2"/>
    <dgm:cxn modelId="{7DEBEBBE-DEBA-4307-AEEC-F0E277C90B6C}" type="presParOf" srcId="{971AB681-BD7C-4291-AE02-11967217D969}" destId="{86F849E1-FD0C-49CA-8437-B142209AD084}" srcOrd="3" destOrd="0" presId="urn:microsoft.com/office/officeart/2005/8/layout/hierarchy2"/>
    <dgm:cxn modelId="{A1F54F3D-A7F3-4EAA-B295-DC1D685C26CD}" type="presParOf" srcId="{86F849E1-FD0C-49CA-8437-B142209AD084}" destId="{DB0624BA-3CD6-4834-9F25-7EBE37F63C46}" srcOrd="0" destOrd="0" presId="urn:microsoft.com/office/officeart/2005/8/layout/hierarchy2"/>
    <dgm:cxn modelId="{B5C5EC48-843E-487E-91FE-AD8CCAC924B5}" type="presParOf" srcId="{86F849E1-FD0C-49CA-8437-B142209AD084}" destId="{0B1D1EC3-63FE-455F-B63C-CE4519EE2AC3}" srcOrd="1" destOrd="0" presId="urn:microsoft.com/office/officeart/2005/8/layout/hierarchy2"/>
    <dgm:cxn modelId="{42E8D4FB-F433-4807-B37B-1321AEF3AFE4}" type="presParOf" srcId="{0B1D1EC3-63FE-455F-B63C-CE4519EE2AC3}" destId="{EDC0D4A2-0AA7-41E9-B99B-8C152250EC05}" srcOrd="0" destOrd="0" presId="urn:microsoft.com/office/officeart/2005/8/layout/hierarchy2"/>
    <dgm:cxn modelId="{4CE88554-572F-41C1-9246-EEC0E20E0B35}" type="presParOf" srcId="{EDC0D4A2-0AA7-41E9-B99B-8C152250EC05}" destId="{359C9019-811F-45D6-9E46-EA0B63D05CEF}" srcOrd="0" destOrd="0" presId="urn:microsoft.com/office/officeart/2005/8/layout/hierarchy2"/>
    <dgm:cxn modelId="{8BAD430F-CF30-4BE6-BD50-B86AAB64510D}" type="presParOf" srcId="{0B1D1EC3-63FE-455F-B63C-CE4519EE2AC3}" destId="{B8AB448F-8E7F-4C80-9E64-2F39E96E53A0}" srcOrd="1" destOrd="0" presId="urn:microsoft.com/office/officeart/2005/8/layout/hierarchy2"/>
    <dgm:cxn modelId="{8D4B6D67-F0F8-4F79-B915-EEEC33A4DD95}" type="presParOf" srcId="{B8AB448F-8E7F-4C80-9E64-2F39E96E53A0}" destId="{76A8198E-A103-4ED6-8C85-2368D377D598}" srcOrd="0" destOrd="0" presId="urn:microsoft.com/office/officeart/2005/8/layout/hierarchy2"/>
    <dgm:cxn modelId="{0F4E65CB-F151-4193-BEBD-522ACCB86F08}" type="presParOf" srcId="{B8AB448F-8E7F-4C80-9E64-2F39E96E53A0}" destId="{10600C33-3C7D-4D72-8F72-3570B6A8C34F}" srcOrd="1" destOrd="0" presId="urn:microsoft.com/office/officeart/2005/8/layout/hierarchy2"/>
    <dgm:cxn modelId="{6CE1D522-404F-466D-8918-40A626F55B29}" type="presParOf" srcId="{91A61326-9538-492A-9AC2-BD3DD0E188B9}" destId="{6C9636C7-2499-4F2B-852A-AC08ABF57691}" srcOrd="2" destOrd="0" presId="urn:microsoft.com/office/officeart/2005/8/layout/hierarchy2"/>
    <dgm:cxn modelId="{A1617C10-AE0D-42CB-BB38-6D33791B077E}" type="presParOf" srcId="{6C9636C7-2499-4F2B-852A-AC08ABF57691}" destId="{8C85D2C7-3DA9-4A7E-9C3F-11423D9AD7EB}" srcOrd="0" destOrd="0" presId="urn:microsoft.com/office/officeart/2005/8/layout/hierarchy2"/>
    <dgm:cxn modelId="{680F960C-EE56-46E5-9690-AF2189968386}" type="presParOf" srcId="{91A61326-9538-492A-9AC2-BD3DD0E188B9}" destId="{4D0E5ADC-6D1D-4B1D-A05F-ECCEEADFA1D9}" srcOrd="3" destOrd="0" presId="urn:microsoft.com/office/officeart/2005/8/layout/hierarchy2"/>
    <dgm:cxn modelId="{2509D82A-0F7B-41EB-81D7-51D4CBA69714}" type="presParOf" srcId="{4D0E5ADC-6D1D-4B1D-A05F-ECCEEADFA1D9}" destId="{684602D2-1D85-4FF4-8913-BFFF9DD703E8}" srcOrd="0" destOrd="0" presId="urn:microsoft.com/office/officeart/2005/8/layout/hierarchy2"/>
    <dgm:cxn modelId="{18DACD6E-CE97-4BC2-A8DC-AE1591753965}" type="presParOf" srcId="{4D0E5ADC-6D1D-4B1D-A05F-ECCEEADFA1D9}" destId="{CAE1E0DF-964D-44B8-A168-92E419D98E84}" srcOrd="1" destOrd="0" presId="urn:microsoft.com/office/officeart/2005/8/layout/hierarchy2"/>
    <dgm:cxn modelId="{2E2AE450-0982-40B3-85CD-3FC58B5C70EA}" type="presParOf" srcId="{CAE1E0DF-964D-44B8-A168-92E419D98E84}" destId="{9FE69F9C-51EE-4341-8F5F-9CC37E67BEE2}" srcOrd="0" destOrd="0" presId="urn:microsoft.com/office/officeart/2005/8/layout/hierarchy2"/>
    <dgm:cxn modelId="{C25502E0-E45F-4A82-9788-51F09D231E84}" type="presParOf" srcId="{9FE69F9C-51EE-4341-8F5F-9CC37E67BEE2}" destId="{D90C403B-E1E3-4C27-8C4C-0E38D06A93AF}" srcOrd="0" destOrd="0" presId="urn:microsoft.com/office/officeart/2005/8/layout/hierarchy2"/>
    <dgm:cxn modelId="{3C6F0CB0-39AE-412F-9951-1285A6A2507C}" type="presParOf" srcId="{CAE1E0DF-964D-44B8-A168-92E419D98E84}" destId="{9A2E2C7D-8F0B-4799-A383-740F0166F414}" srcOrd="1" destOrd="0" presId="urn:microsoft.com/office/officeart/2005/8/layout/hierarchy2"/>
    <dgm:cxn modelId="{C1FD9E24-BD05-48A4-A04F-518FBEC3AA1C}" type="presParOf" srcId="{9A2E2C7D-8F0B-4799-A383-740F0166F414}" destId="{8454E545-8B1A-4930-A9A9-C602660A793D}" srcOrd="0" destOrd="0" presId="urn:microsoft.com/office/officeart/2005/8/layout/hierarchy2"/>
    <dgm:cxn modelId="{AE721425-C16F-4506-AD64-505570A9D9DC}" type="presParOf" srcId="{9A2E2C7D-8F0B-4799-A383-740F0166F414}" destId="{4F38B967-2699-4794-B9A9-9DFFC6B303DD}" srcOrd="1" destOrd="0" presId="urn:microsoft.com/office/officeart/2005/8/layout/hierarchy2"/>
    <dgm:cxn modelId="{6DE44210-FE93-4983-BFA3-D6A3F1A1737C}" type="presParOf" srcId="{4F38B967-2699-4794-B9A9-9DFFC6B303DD}" destId="{817C6FF2-65ED-4BA3-9B31-F6061CC281AD}" srcOrd="0" destOrd="0" presId="urn:microsoft.com/office/officeart/2005/8/layout/hierarchy2"/>
    <dgm:cxn modelId="{2BCF6BC5-00DD-4D5D-9B49-8E7F40B99B59}" type="presParOf" srcId="{817C6FF2-65ED-4BA3-9B31-F6061CC281AD}" destId="{4D5A1666-C37A-4F26-84BD-DD23793E895D}" srcOrd="0" destOrd="0" presId="urn:microsoft.com/office/officeart/2005/8/layout/hierarchy2"/>
    <dgm:cxn modelId="{BE474D9E-67D1-4233-8F90-6869E769118B}" type="presParOf" srcId="{4F38B967-2699-4794-B9A9-9DFFC6B303DD}" destId="{703D483A-3557-443F-BD60-344A388ED41D}" srcOrd="1" destOrd="0" presId="urn:microsoft.com/office/officeart/2005/8/layout/hierarchy2"/>
    <dgm:cxn modelId="{E2519E05-0082-4950-90AD-E2DECA46D59B}" type="presParOf" srcId="{703D483A-3557-443F-BD60-344A388ED41D}" destId="{CF03E51F-14B7-49E6-83FE-176353D8ECA8}" srcOrd="0" destOrd="0" presId="urn:microsoft.com/office/officeart/2005/8/layout/hierarchy2"/>
    <dgm:cxn modelId="{C6D96D2D-9E72-45C9-BD23-2299B6120BDC}" type="presParOf" srcId="{703D483A-3557-443F-BD60-344A388ED41D}" destId="{BAB597D0-EDD1-4E4C-AA18-494101235E7F}" srcOrd="1" destOrd="0" presId="urn:microsoft.com/office/officeart/2005/8/layout/hierarchy2"/>
    <dgm:cxn modelId="{90C69AB0-7EA0-46AA-9FE1-BA759F5554F4}" type="presParOf" srcId="{CAE1E0DF-964D-44B8-A168-92E419D98E84}" destId="{7C518A94-1528-4C35-B34E-3D2730B7BAA1}" srcOrd="2" destOrd="0" presId="urn:microsoft.com/office/officeart/2005/8/layout/hierarchy2"/>
    <dgm:cxn modelId="{877CD7F8-2616-4DF9-90BC-BF514AA19D5B}" type="presParOf" srcId="{7C518A94-1528-4C35-B34E-3D2730B7BAA1}" destId="{9153FE2B-610F-4C07-8D67-8D69CB1CC9CD}" srcOrd="0" destOrd="0" presId="urn:microsoft.com/office/officeart/2005/8/layout/hierarchy2"/>
    <dgm:cxn modelId="{08B34CA2-CB9B-4D26-8016-42BDE4A46C1D}" type="presParOf" srcId="{CAE1E0DF-964D-44B8-A168-92E419D98E84}" destId="{4ED6CA49-F441-4902-A77C-034561EA2945}" srcOrd="3" destOrd="0" presId="urn:microsoft.com/office/officeart/2005/8/layout/hierarchy2"/>
    <dgm:cxn modelId="{7E7E6951-A19F-4E54-95CA-B137B57F2763}" type="presParOf" srcId="{4ED6CA49-F441-4902-A77C-034561EA2945}" destId="{727EE19F-11FB-4DA9-88EF-6AEFD77BCF4A}" srcOrd="0" destOrd="0" presId="urn:microsoft.com/office/officeart/2005/8/layout/hierarchy2"/>
    <dgm:cxn modelId="{8E130B8C-9733-4A93-A445-5F95B236F003}" type="presParOf" srcId="{4ED6CA49-F441-4902-A77C-034561EA2945}" destId="{053B9F16-9660-4005-BA3C-300949F993EE}" srcOrd="1" destOrd="0" presId="urn:microsoft.com/office/officeart/2005/8/layout/hierarchy2"/>
    <dgm:cxn modelId="{B6F9F726-F8B1-4374-A435-62F0A8E59082}" type="presParOf" srcId="{053B9F16-9660-4005-BA3C-300949F993EE}" destId="{1466BECD-2692-4786-AD54-872B3C8C30CC}" srcOrd="0" destOrd="0" presId="urn:microsoft.com/office/officeart/2005/8/layout/hierarchy2"/>
    <dgm:cxn modelId="{B244EC95-C9CD-459F-AD68-07845B7F9C3F}" type="presParOf" srcId="{1466BECD-2692-4786-AD54-872B3C8C30CC}" destId="{3F5D9EDB-D09C-4B58-8528-A790A2E0C8FD}" srcOrd="0" destOrd="0" presId="urn:microsoft.com/office/officeart/2005/8/layout/hierarchy2"/>
    <dgm:cxn modelId="{12FD015B-3029-42F0-A1D4-CDF761E7E4AB}" type="presParOf" srcId="{053B9F16-9660-4005-BA3C-300949F993EE}" destId="{865E00D5-61D2-4423-9F0D-4653C5B53AFB}" srcOrd="1" destOrd="0" presId="urn:microsoft.com/office/officeart/2005/8/layout/hierarchy2"/>
    <dgm:cxn modelId="{6338561E-823D-4DDA-AC16-81DE3D342DD4}" type="presParOf" srcId="{865E00D5-61D2-4423-9F0D-4653C5B53AFB}" destId="{ABE652F6-97EC-42D9-8CD8-540BE506F0DE}" srcOrd="0" destOrd="0" presId="urn:microsoft.com/office/officeart/2005/8/layout/hierarchy2"/>
    <dgm:cxn modelId="{2A4C2139-E969-4DF6-A566-33CC818F0DE2}" type="presParOf" srcId="{865E00D5-61D2-4423-9F0D-4653C5B53AFB}" destId="{02F1C038-E2D2-4A09-BACD-C095D520CB6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D0601D-C30D-4A46-B353-97FCDE897D7B}" type="doc">
      <dgm:prSet loTypeId="urn:microsoft.com/office/officeart/2005/8/layout/hierarchy2" loCatId="hierarchy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en-US"/>
        </a:p>
      </dgm:t>
    </dgm:pt>
    <dgm:pt modelId="{D375F5CE-A497-4D94-9390-5EE001E771C4}">
      <dgm:prSet phldrT="[Text]"/>
      <dgm:spPr>
        <a:solidFill>
          <a:schemeClr val="bg1">
            <a:lumMod val="85000"/>
          </a:schemeClr>
        </a:solidFill>
        <a:ln w="12700"/>
      </dgm:spPr>
      <dgm:t>
        <a:bodyPr/>
        <a:lstStyle/>
        <a:p>
          <a:r>
            <a:rPr lang="en-US" err="1"/>
            <a:t>Utlandet</a:t>
          </a:r>
          <a:endParaRPr lang="en-US"/>
        </a:p>
      </dgm:t>
    </dgm:pt>
    <dgm:pt modelId="{28ED2A10-62B8-4F91-A0D5-E8DDD577CF53}" type="parTrans" cxnId="{801F48D6-E2FC-4772-A1EA-58CBD12167FA}">
      <dgm:prSet/>
      <dgm:spPr/>
      <dgm:t>
        <a:bodyPr/>
        <a:lstStyle/>
        <a:p>
          <a:endParaRPr lang="en-US"/>
        </a:p>
      </dgm:t>
    </dgm:pt>
    <dgm:pt modelId="{A4C253F0-248F-4B08-8EFE-AF7FA629F822}" type="sibTrans" cxnId="{801F48D6-E2FC-4772-A1EA-58CBD12167FA}">
      <dgm:prSet/>
      <dgm:spPr/>
      <dgm:t>
        <a:bodyPr/>
        <a:lstStyle/>
        <a:p>
          <a:endParaRPr lang="en-US"/>
        </a:p>
      </dgm:t>
    </dgm:pt>
    <dgm:pt modelId="{308731A1-30B3-44B7-8C14-ED5DEA652356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Vare</a:t>
          </a:r>
          <a:endParaRPr lang="en-US"/>
        </a:p>
      </dgm:t>
    </dgm:pt>
    <dgm:pt modelId="{779A652F-6E2E-448F-B989-231B13B490F9}" type="parTrans" cxnId="{F2144CA0-B2A1-46B8-BB0B-D3F1E2B47504}">
      <dgm:prSet/>
      <dgm:spPr>
        <a:ln w="12700"/>
      </dgm:spPr>
      <dgm:t>
        <a:bodyPr/>
        <a:lstStyle/>
        <a:p>
          <a:endParaRPr lang="en-US"/>
        </a:p>
      </dgm:t>
    </dgm:pt>
    <dgm:pt modelId="{CB08FA17-C73C-49DE-A0C2-523942C96612}" type="sibTrans" cxnId="{F2144CA0-B2A1-46B8-BB0B-D3F1E2B47504}">
      <dgm:prSet/>
      <dgm:spPr/>
      <dgm:t>
        <a:bodyPr/>
        <a:lstStyle/>
        <a:p>
          <a:endParaRPr lang="en-US"/>
        </a:p>
      </dgm:t>
    </dgm:pt>
    <dgm:pt modelId="{8C22994A-6C87-4778-9604-B44579DA5A64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Uten</a:t>
          </a:r>
          <a:r>
            <a:rPr lang="en-US"/>
            <a:t> </a:t>
          </a:r>
          <a:r>
            <a:rPr lang="en-US" err="1"/>
            <a:t>fradrag</a:t>
          </a:r>
          <a:endParaRPr lang="en-US"/>
        </a:p>
      </dgm:t>
    </dgm:pt>
    <dgm:pt modelId="{2271F7E3-6999-477A-9E6B-CE18D66C7D37}" type="parTrans" cxnId="{27B9C99B-10A2-4803-9CA1-40F65D5D8D05}">
      <dgm:prSet/>
      <dgm:spPr>
        <a:ln w="12700"/>
      </dgm:spPr>
      <dgm:t>
        <a:bodyPr/>
        <a:lstStyle/>
        <a:p>
          <a:endParaRPr lang="en-US"/>
        </a:p>
      </dgm:t>
    </dgm:pt>
    <dgm:pt modelId="{1AB1CF33-DBFD-4FA1-B515-195918D7E4D1}" type="sibTrans" cxnId="{27B9C99B-10A2-4803-9CA1-40F65D5D8D05}">
      <dgm:prSet/>
      <dgm:spPr/>
      <dgm:t>
        <a:bodyPr/>
        <a:lstStyle/>
        <a:p>
          <a:endParaRPr lang="en-US"/>
        </a:p>
      </dgm:t>
    </dgm:pt>
    <dgm:pt modelId="{AA68AE02-CD46-4B96-BBDA-05B734CBAFE6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Med </a:t>
          </a:r>
          <a:r>
            <a:rPr lang="en-US" err="1"/>
            <a:t>fradrag</a:t>
          </a:r>
          <a:endParaRPr lang="en-US"/>
        </a:p>
      </dgm:t>
    </dgm:pt>
    <dgm:pt modelId="{50D4A3EC-0BEF-437A-885C-333ACB2621B0}" type="parTrans" cxnId="{7221D051-7A18-4DCF-9CAB-F831E19DEACE}">
      <dgm:prSet/>
      <dgm:spPr>
        <a:ln w="12700"/>
      </dgm:spPr>
      <dgm:t>
        <a:bodyPr/>
        <a:lstStyle/>
        <a:p>
          <a:endParaRPr lang="en-US"/>
        </a:p>
      </dgm:t>
    </dgm:pt>
    <dgm:pt modelId="{36B5CB08-036B-45C9-B10E-1C6C7002F38A}" type="sibTrans" cxnId="{7221D051-7A18-4DCF-9CAB-F831E19DEACE}">
      <dgm:prSet/>
      <dgm:spPr/>
      <dgm:t>
        <a:bodyPr/>
        <a:lstStyle/>
        <a:p>
          <a:endParaRPr lang="en-US"/>
        </a:p>
      </dgm:t>
    </dgm:pt>
    <dgm:pt modelId="{DFDF8DFB-770E-4F5E-A138-A3CE78F2022C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Med </a:t>
          </a:r>
          <a:r>
            <a:rPr lang="en-US" err="1"/>
            <a:t>fradrag</a:t>
          </a:r>
          <a:endParaRPr lang="en-US"/>
        </a:p>
      </dgm:t>
    </dgm:pt>
    <dgm:pt modelId="{9BCA0F40-571B-4379-BB74-2CD9E61040D1}" type="parTrans" cxnId="{BC17D1E9-DA7E-41AF-9EAA-6DCBE5CA7629}">
      <dgm:prSet/>
      <dgm:spPr>
        <a:ln w="12700"/>
      </dgm:spPr>
      <dgm:t>
        <a:bodyPr/>
        <a:lstStyle/>
        <a:p>
          <a:endParaRPr lang="en-US"/>
        </a:p>
      </dgm:t>
    </dgm:pt>
    <dgm:pt modelId="{A0709CB2-193D-4FF2-A1FE-0AA21646369B}" type="sibTrans" cxnId="{BC17D1E9-DA7E-41AF-9EAA-6DCBE5CA7629}">
      <dgm:prSet/>
      <dgm:spPr/>
      <dgm:t>
        <a:bodyPr/>
        <a:lstStyle/>
        <a:p>
          <a:endParaRPr lang="en-US"/>
        </a:p>
      </dgm:t>
    </dgm:pt>
    <dgm:pt modelId="{EBBD4A29-A00C-40FF-9EEF-029505AA1317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Uten</a:t>
          </a:r>
          <a:r>
            <a:rPr lang="en-US"/>
            <a:t> </a:t>
          </a:r>
          <a:r>
            <a:rPr lang="en-US" err="1"/>
            <a:t>fradrag</a:t>
          </a:r>
          <a:endParaRPr lang="en-US"/>
        </a:p>
      </dgm:t>
    </dgm:pt>
    <dgm:pt modelId="{7A0A8722-618C-49BB-928E-90E432D27A95}" type="parTrans" cxnId="{CEDE3F71-D7B5-4C86-9C64-C53D9F09A762}">
      <dgm:prSet/>
      <dgm:spPr>
        <a:ln w="12700"/>
      </dgm:spPr>
      <dgm:t>
        <a:bodyPr/>
        <a:lstStyle/>
        <a:p>
          <a:endParaRPr lang="en-US"/>
        </a:p>
      </dgm:t>
    </dgm:pt>
    <dgm:pt modelId="{5E35DC17-E949-4DB6-BD65-D665C3778283}" type="sibTrans" cxnId="{CEDE3F71-D7B5-4C86-9C64-C53D9F09A762}">
      <dgm:prSet/>
      <dgm:spPr/>
      <dgm:t>
        <a:bodyPr/>
        <a:lstStyle/>
        <a:p>
          <a:endParaRPr lang="en-US"/>
        </a:p>
      </dgm:t>
    </dgm:pt>
    <dgm:pt modelId="{E34F46F6-202B-41D2-A438-F74B9032655E}">
      <dgm:prSet phldrT="[Text]"/>
      <dgm:spPr>
        <a:solidFill>
          <a:srgbClr val="92D050"/>
        </a:solidFill>
        <a:ln w="12700"/>
      </dgm:spPr>
      <dgm:t>
        <a:bodyPr/>
        <a:lstStyle/>
        <a:p>
          <a:r>
            <a:rPr lang="en-US"/>
            <a:t>20 = 25%</a:t>
          </a:r>
        </a:p>
        <a:p>
          <a:r>
            <a:rPr lang="en-US"/>
            <a:t>27 = 15%</a:t>
          </a:r>
        </a:p>
      </dgm:t>
    </dgm:pt>
    <dgm:pt modelId="{69E257A6-B7E3-4F77-BFE3-3104A96745D3}" type="parTrans" cxnId="{35E0DF0B-7FC4-4057-8863-39AE33ED14A9}">
      <dgm:prSet/>
      <dgm:spPr>
        <a:ln w="12700"/>
      </dgm:spPr>
      <dgm:t>
        <a:bodyPr/>
        <a:lstStyle/>
        <a:p>
          <a:endParaRPr lang="en-US"/>
        </a:p>
      </dgm:t>
    </dgm:pt>
    <dgm:pt modelId="{AA118AAE-2995-46C1-8B41-F8783047C8A8}" type="sibTrans" cxnId="{35E0DF0B-7FC4-4057-8863-39AE33ED14A9}">
      <dgm:prSet/>
      <dgm:spPr/>
      <dgm:t>
        <a:bodyPr/>
        <a:lstStyle/>
        <a:p>
          <a:endParaRPr lang="en-US"/>
        </a:p>
      </dgm:t>
    </dgm:pt>
    <dgm:pt modelId="{ED397C4B-3FF8-43C7-AFB2-943BA49DFDFA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pPr algn="ctr"/>
          <a:r>
            <a:rPr lang="en-US"/>
            <a:t>21 = 25%</a:t>
          </a:r>
          <a:br>
            <a:rPr lang="en-US"/>
          </a:br>
          <a:r>
            <a:rPr lang="en-US"/>
            <a:t>22 = 15%</a:t>
          </a:r>
          <a:br>
            <a:rPr lang="en-US"/>
          </a:br>
          <a:r>
            <a:rPr lang="en-US"/>
            <a:t>23 =  0% </a:t>
          </a:r>
        </a:p>
      </dgm:t>
    </dgm:pt>
    <dgm:pt modelId="{C7D2BF5F-2160-4F1B-B9A0-756EE86FBACD}" type="parTrans" cxnId="{BB49F375-5060-470A-AAC6-112E578717C2}">
      <dgm:prSet/>
      <dgm:spPr>
        <a:ln w="12700"/>
      </dgm:spPr>
      <dgm:t>
        <a:bodyPr/>
        <a:lstStyle/>
        <a:p>
          <a:endParaRPr lang="en-US"/>
        </a:p>
      </dgm:t>
    </dgm:pt>
    <dgm:pt modelId="{C76DA601-EA3F-4C9D-B814-35B50D7D03B6}" type="sibTrans" cxnId="{BB49F375-5060-470A-AAC6-112E578717C2}">
      <dgm:prSet/>
      <dgm:spPr/>
      <dgm:t>
        <a:bodyPr/>
        <a:lstStyle/>
        <a:p>
          <a:endParaRPr lang="en-US"/>
        </a:p>
      </dgm:t>
    </dgm:pt>
    <dgm:pt modelId="{C6637FEE-0FB3-4532-9487-5671AB3452D8}">
      <dgm:prSet phldrT="[Text]"/>
      <dgm:spPr>
        <a:solidFill>
          <a:srgbClr val="92D050"/>
        </a:solidFill>
        <a:ln w="12700"/>
      </dgm:spPr>
      <dgm:t>
        <a:bodyPr/>
        <a:lstStyle/>
        <a:p>
          <a:r>
            <a:rPr lang="en-US"/>
            <a:t>3T = 25%</a:t>
          </a:r>
        </a:p>
      </dgm:t>
    </dgm:pt>
    <dgm:pt modelId="{61CD98B8-BB6B-43E5-9694-D2D6A47291C4}" type="parTrans" cxnId="{E015E535-DCC8-4F8D-8133-EC70A53A424C}">
      <dgm:prSet/>
      <dgm:spPr>
        <a:ln w="12700"/>
      </dgm:spPr>
      <dgm:t>
        <a:bodyPr/>
        <a:lstStyle/>
        <a:p>
          <a:endParaRPr lang="en-US"/>
        </a:p>
      </dgm:t>
    </dgm:pt>
    <dgm:pt modelId="{9F79561A-1249-4B59-82E7-D6EB136C2D54}" type="sibTrans" cxnId="{E015E535-DCC8-4F8D-8133-EC70A53A424C}">
      <dgm:prSet/>
      <dgm:spPr/>
      <dgm:t>
        <a:bodyPr/>
        <a:lstStyle/>
        <a:p>
          <a:endParaRPr lang="en-US"/>
        </a:p>
      </dgm:t>
    </dgm:pt>
    <dgm:pt modelId="{C63AE13D-85E7-467D-AED1-013EEC04FE7D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3F = 25%</a:t>
          </a:r>
        </a:p>
      </dgm:t>
    </dgm:pt>
    <dgm:pt modelId="{25DBA565-CA7D-43F7-B564-1B0823D4FE79}" type="parTrans" cxnId="{2BA70B5B-707F-4EBA-9FBB-175B1941E771}">
      <dgm:prSet/>
      <dgm:spPr>
        <a:ln w="12700"/>
      </dgm:spPr>
      <dgm:t>
        <a:bodyPr/>
        <a:lstStyle/>
        <a:p>
          <a:endParaRPr lang="en-US"/>
        </a:p>
      </dgm:t>
    </dgm:pt>
    <dgm:pt modelId="{A5D38088-E471-45CF-AD1A-233067B8677A}" type="sibTrans" cxnId="{2BA70B5B-707F-4EBA-9FBB-175B1941E771}">
      <dgm:prSet/>
      <dgm:spPr/>
      <dgm:t>
        <a:bodyPr/>
        <a:lstStyle/>
        <a:p>
          <a:endParaRPr lang="en-US"/>
        </a:p>
      </dgm:t>
    </dgm:pt>
    <dgm:pt modelId="{E8E97BA4-3E81-4BF2-B2BF-55FCE0202493}">
      <dgm:prSet phldrT="[Text]"/>
      <dgm:spPr>
        <a:solidFill>
          <a:schemeClr val="accent1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 err="1"/>
            <a:t>Tjeneste</a:t>
          </a:r>
          <a:endParaRPr lang="en-US"/>
        </a:p>
      </dgm:t>
    </dgm:pt>
    <dgm:pt modelId="{82337CAD-4F84-4CAA-BE0A-F910E654E021}" type="sibTrans" cxnId="{D04A2E9C-DAAF-4F79-84F8-D463637627A1}">
      <dgm:prSet/>
      <dgm:spPr/>
      <dgm:t>
        <a:bodyPr/>
        <a:lstStyle/>
        <a:p>
          <a:endParaRPr lang="en-US"/>
        </a:p>
      </dgm:t>
    </dgm:pt>
    <dgm:pt modelId="{E0F2D951-7FB4-46EC-9AC0-17CD94E674E8}" type="parTrans" cxnId="{D04A2E9C-DAAF-4F79-84F8-D463637627A1}">
      <dgm:prSet/>
      <dgm:spPr>
        <a:ln w="12700"/>
      </dgm:spPr>
      <dgm:t>
        <a:bodyPr/>
        <a:lstStyle/>
        <a:p>
          <a:endParaRPr lang="en-US"/>
        </a:p>
      </dgm:t>
    </dgm:pt>
    <dgm:pt modelId="{421FE84E-E313-451F-953E-B3C36BC18FAE}">
      <dgm:prSet phldrT="[Text]"/>
      <dgm:spPr>
        <a:solidFill>
          <a:schemeClr val="accent3">
            <a:lumMod val="20000"/>
            <a:lumOff val="80000"/>
          </a:schemeClr>
        </a:solidFill>
        <a:ln w="12700"/>
      </dgm:spPr>
      <dgm:t>
        <a:bodyPr/>
        <a:lstStyle/>
        <a:p>
          <a:r>
            <a:rPr lang="en-US"/>
            <a:t>0 = 0%</a:t>
          </a:r>
        </a:p>
      </dgm:t>
    </dgm:pt>
    <dgm:pt modelId="{0FE0AC1B-BFC7-4CD1-ADE1-1E1DA45E6DCB}" type="parTrans" cxnId="{55E24F00-8B0A-4AB3-B451-4B1F63F5D288}">
      <dgm:prSet/>
      <dgm:spPr>
        <a:ln w="12700"/>
      </dgm:spPr>
      <dgm:t>
        <a:bodyPr/>
        <a:lstStyle/>
        <a:p>
          <a:endParaRPr lang="nb-NO"/>
        </a:p>
      </dgm:t>
    </dgm:pt>
    <dgm:pt modelId="{A39A2044-7A95-4E75-A0BE-560063127F7D}" type="sibTrans" cxnId="{55E24F00-8B0A-4AB3-B451-4B1F63F5D288}">
      <dgm:prSet/>
      <dgm:spPr/>
      <dgm:t>
        <a:bodyPr/>
        <a:lstStyle/>
        <a:p>
          <a:endParaRPr lang="nb-NO"/>
        </a:p>
      </dgm:t>
    </dgm:pt>
    <dgm:pt modelId="{D2867E43-37D7-408A-B4F5-FC01CB6C8F6C}">
      <dgm:prSet phldrT="[Text]" custT="1"/>
      <dgm:spPr>
        <a:solidFill>
          <a:srgbClr val="B6C8E9">
            <a:lumMod val="20000"/>
            <a:lumOff val="80000"/>
          </a:srgbClr>
        </a:solidFill>
        <a:ln w="12700" cap="flat" cmpd="sng" algn="ctr">
          <a:solidFill>
            <a:scrgbClr r="0" g="0" b="0"/>
          </a:solidFill>
          <a:prstDash val="solid"/>
        </a:ln>
        <a:effectLst/>
      </dgm:spPr>
      <dgm:t>
        <a:bodyPr spcFirstLastPara="0" vert="horz" wrap="square" lIns="9525" tIns="9525" rIns="9525" bIns="9525" numCol="1" spcCol="1270" anchor="ctr" anchorCtr="0"/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0 = 0%</a:t>
          </a:r>
        </a:p>
      </dgm:t>
    </dgm:pt>
    <dgm:pt modelId="{9A587C6F-F327-4560-88A4-DF880861B664}" type="parTrans" cxnId="{C4447B61-DBFE-43A6-9F80-BF7A12305C49}">
      <dgm:prSet/>
      <dgm:spPr>
        <a:ln w="12700"/>
      </dgm:spPr>
      <dgm:t>
        <a:bodyPr/>
        <a:lstStyle/>
        <a:p>
          <a:endParaRPr lang="nb-NO"/>
        </a:p>
      </dgm:t>
    </dgm:pt>
    <dgm:pt modelId="{DD9CDDEA-BD6B-4E58-A643-BAC1269E7CEF}" type="sibTrans" cxnId="{C4447B61-DBFE-43A6-9F80-BF7A12305C49}">
      <dgm:prSet/>
      <dgm:spPr/>
      <dgm:t>
        <a:bodyPr/>
        <a:lstStyle/>
        <a:p>
          <a:endParaRPr lang="nb-NO"/>
        </a:p>
      </dgm:t>
    </dgm:pt>
    <dgm:pt modelId="{D5D6806D-4546-485C-B52C-9C040D48B893}" type="pres">
      <dgm:prSet presAssocID="{A9D0601D-C30D-4A46-B353-97FCDE897D7B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89F1F21-A5C4-45FE-B012-DA4D0B972B0B}" type="pres">
      <dgm:prSet presAssocID="{D375F5CE-A497-4D94-9390-5EE001E771C4}" presName="root1" presStyleCnt="0"/>
      <dgm:spPr/>
    </dgm:pt>
    <dgm:pt modelId="{0125BD50-D79D-4CC3-9755-0DA3E2D8E3FD}" type="pres">
      <dgm:prSet presAssocID="{D375F5CE-A497-4D94-9390-5EE001E771C4}" presName="LevelOneTextNode" presStyleLbl="node0" presStyleIdx="0" presStyleCnt="1" custLinFactNeighborX="-210" custLinFactNeighborY="-2251">
        <dgm:presLayoutVars>
          <dgm:chPref val="3"/>
        </dgm:presLayoutVars>
      </dgm:prSet>
      <dgm:spPr/>
    </dgm:pt>
    <dgm:pt modelId="{C0F8C703-F2D5-4D25-9D76-3B5B90F59A28}" type="pres">
      <dgm:prSet presAssocID="{D375F5CE-A497-4D94-9390-5EE001E771C4}" presName="level2hierChild" presStyleCnt="0"/>
      <dgm:spPr/>
    </dgm:pt>
    <dgm:pt modelId="{D93CA1E7-1E9E-40F3-BD60-501BD0921ADB}" type="pres">
      <dgm:prSet presAssocID="{779A652F-6E2E-448F-B989-231B13B490F9}" presName="conn2-1" presStyleLbl="parChTrans1D2" presStyleIdx="0" presStyleCnt="2"/>
      <dgm:spPr/>
    </dgm:pt>
    <dgm:pt modelId="{C445F999-041F-4752-9E41-2E18A531AD57}" type="pres">
      <dgm:prSet presAssocID="{779A652F-6E2E-448F-B989-231B13B490F9}" presName="connTx" presStyleLbl="parChTrans1D2" presStyleIdx="0" presStyleCnt="2"/>
      <dgm:spPr/>
    </dgm:pt>
    <dgm:pt modelId="{8B8CAF1F-38B0-4032-8798-86DFCF8F8F8D}" type="pres">
      <dgm:prSet presAssocID="{308731A1-30B3-44B7-8C14-ED5DEA652356}" presName="root2" presStyleCnt="0"/>
      <dgm:spPr/>
    </dgm:pt>
    <dgm:pt modelId="{18E32922-F51C-40B9-BC52-EAC7F334A273}" type="pres">
      <dgm:prSet presAssocID="{308731A1-30B3-44B7-8C14-ED5DEA652356}" presName="LevelTwoTextNode" presStyleLbl="node2" presStyleIdx="0" presStyleCnt="2">
        <dgm:presLayoutVars>
          <dgm:chPref val="3"/>
        </dgm:presLayoutVars>
      </dgm:prSet>
      <dgm:spPr/>
    </dgm:pt>
    <dgm:pt modelId="{D5702D07-435B-4D9D-BC30-F5CE4FF4F608}" type="pres">
      <dgm:prSet presAssocID="{308731A1-30B3-44B7-8C14-ED5DEA652356}" presName="level3hierChild" presStyleCnt="0"/>
      <dgm:spPr/>
    </dgm:pt>
    <dgm:pt modelId="{25A113C8-8072-43F9-89D4-9ED32583A830}" type="pres">
      <dgm:prSet presAssocID="{2271F7E3-6999-477A-9E6B-CE18D66C7D37}" presName="conn2-1" presStyleLbl="parChTrans1D3" presStyleIdx="0" presStyleCnt="4"/>
      <dgm:spPr/>
    </dgm:pt>
    <dgm:pt modelId="{B6A6DF98-94CC-4CDB-8912-43FA13112CF3}" type="pres">
      <dgm:prSet presAssocID="{2271F7E3-6999-477A-9E6B-CE18D66C7D37}" presName="connTx" presStyleLbl="parChTrans1D3" presStyleIdx="0" presStyleCnt="4"/>
      <dgm:spPr/>
    </dgm:pt>
    <dgm:pt modelId="{E18C6BC4-CAC3-4FD3-BFA7-3577D40E96B7}" type="pres">
      <dgm:prSet presAssocID="{8C22994A-6C87-4778-9604-B44579DA5A64}" presName="root2" presStyleCnt="0"/>
      <dgm:spPr/>
    </dgm:pt>
    <dgm:pt modelId="{03F1BF70-1109-4C0A-A4E7-965962B6CD26}" type="pres">
      <dgm:prSet presAssocID="{8C22994A-6C87-4778-9604-B44579DA5A64}" presName="LevelTwoTextNode" presStyleLbl="node3" presStyleIdx="0" presStyleCnt="4">
        <dgm:presLayoutVars>
          <dgm:chPref val="3"/>
        </dgm:presLayoutVars>
      </dgm:prSet>
      <dgm:spPr/>
    </dgm:pt>
    <dgm:pt modelId="{4A8CD520-4CD8-4242-B75E-1F8D61F2374C}" type="pres">
      <dgm:prSet presAssocID="{8C22994A-6C87-4778-9604-B44579DA5A64}" presName="level3hierChild" presStyleCnt="0"/>
      <dgm:spPr/>
    </dgm:pt>
    <dgm:pt modelId="{3A41823B-86F3-406F-A054-374247C2ECAB}" type="pres">
      <dgm:prSet presAssocID="{69E257A6-B7E3-4F77-BFE3-3104A96745D3}" presName="conn2-1" presStyleLbl="parChTrans1D4" presStyleIdx="0" presStyleCnt="6"/>
      <dgm:spPr/>
    </dgm:pt>
    <dgm:pt modelId="{C3E950BE-1303-4C53-AB68-D937916DB24A}" type="pres">
      <dgm:prSet presAssocID="{69E257A6-B7E3-4F77-BFE3-3104A96745D3}" presName="connTx" presStyleLbl="parChTrans1D4" presStyleIdx="0" presStyleCnt="6"/>
      <dgm:spPr/>
    </dgm:pt>
    <dgm:pt modelId="{79AEA70B-7B81-4B89-9A14-00EEA75B0DC0}" type="pres">
      <dgm:prSet presAssocID="{E34F46F6-202B-41D2-A438-F74B9032655E}" presName="root2" presStyleCnt="0"/>
      <dgm:spPr/>
    </dgm:pt>
    <dgm:pt modelId="{79A8959C-0267-4FB7-8B78-A9B4D9B32B12}" type="pres">
      <dgm:prSet presAssocID="{E34F46F6-202B-41D2-A438-F74B9032655E}" presName="LevelTwoTextNode" presStyleLbl="node4" presStyleIdx="0" presStyleCnt="6">
        <dgm:presLayoutVars>
          <dgm:chPref val="3"/>
        </dgm:presLayoutVars>
      </dgm:prSet>
      <dgm:spPr/>
    </dgm:pt>
    <dgm:pt modelId="{C4F6D3F2-ACCD-429D-B4C1-77BF1034DF7A}" type="pres">
      <dgm:prSet presAssocID="{E34F46F6-202B-41D2-A438-F74B9032655E}" presName="level3hierChild" presStyleCnt="0"/>
      <dgm:spPr/>
    </dgm:pt>
    <dgm:pt modelId="{547094B5-6C7F-4543-AC5F-6BB8797E1833}" type="pres">
      <dgm:prSet presAssocID="{0FE0AC1B-BFC7-4CD1-ADE1-1E1DA45E6DCB}" presName="conn2-1" presStyleLbl="parChTrans1D4" presStyleIdx="1" presStyleCnt="6"/>
      <dgm:spPr/>
    </dgm:pt>
    <dgm:pt modelId="{59EC2DE5-BDF2-4775-A244-9FF0B18A3C90}" type="pres">
      <dgm:prSet presAssocID="{0FE0AC1B-BFC7-4CD1-ADE1-1E1DA45E6DCB}" presName="connTx" presStyleLbl="parChTrans1D4" presStyleIdx="1" presStyleCnt="6"/>
      <dgm:spPr/>
    </dgm:pt>
    <dgm:pt modelId="{CC54CACD-6B01-4CA1-BAD9-0852ABE5D297}" type="pres">
      <dgm:prSet presAssocID="{421FE84E-E313-451F-953E-B3C36BC18FAE}" presName="root2" presStyleCnt="0"/>
      <dgm:spPr/>
    </dgm:pt>
    <dgm:pt modelId="{B850CD55-517E-4C23-963D-66006E75A232}" type="pres">
      <dgm:prSet presAssocID="{421FE84E-E313-451F-953E-B3C36BC18FAE}" presName="LevelTwoTextNode" presStyleLbl="node4" presStyleIdx="1" presStyleCnt="6">
        <dgm:presLayoutVars>
          <dgm:chPref val="3"/>
        </dgm:presLayoutVars>
      </dgm:prSet>
      <dgm:spPr/>
    </dgm:pt>
    <dgm:pt modelId="{29CBD5C1-89D6-455A-A421-473A02511FA7}" type="pres">
      <dgm:prSet presAssocID="{421FE84E-E313-451F-953E-B3C36BC18FAE}" presName="level3hierChild" presStyleCnt="0"/>
      <dgm:spPr/>
    </dgm:pt>
    <dgm:pt modelId="{E0A73A1B-2B97-45BA-8A57-D9AA1DC86B87}" type="pres">
      <dgm:prSet presAssocID="{50D4A3EC-0BEF-437A-885C-333ACB2621B0}" presName="conn2-1" presStyleLbl="parChTrans1D3" presStyleIdx="1" presStyleCnt="4"/>
      <dgm:spPr/>
    </dgm:pt>
    <dgm:pt modelId="{24301EE5-773A-4EC5-97F6-0F6283266BB0}" type="pres">
      <dgm:prSet presAssocID="{50D4A3EC-0BEF-437A-885C-333ACB2621B0}" presName="connTx" presStyleLbl="parChTrans1D3" presStyleIdx="1" presStyleCnt="4"/>
      <dgm:spPr/>
    </dgm:pt>
    <dgm:pt modelId="{962D2993-1380-4C76-8F42-BAD25244E043}" type="pres">
      <dgm:prSet presAssocID="{AA68AE02-CD46-4B96-BBDA-05B734CBAFE6}" presName="root2" presStyleCnt="0"/>
      <dgm:spPr/>
    </dgm:pt>
    <dgm:pt modelId="{FB5F17FA-01F3-4DCE-AFEF-3373A9A37BF6}" type="pres">
      <dgm:prSet presAssocID="{AA68AE02-CD46-4B96-BBDA-05B734CBAFE6}" presName="LevelTwoTextNode" presStyleLbl="node3" presStyleIdx="1" presStyleCnt="4">
        <dgm:presLayoutVars>
          <dgm:chPref val="3"/>
        </dgm:presLayoutVars>
      </dgm:prSet>
      <dgm:spPr/>
    </dgm:pt>
    <dgm:pt modelId="{22FEB322-5F0D-4D34-B738-D814B52298B0}" type="pres">
      <dgm:prSet presAssocID="{AA68AE02-CD46-4B96-BBDA-05B734CBAFE6}" presName="level3hierChild" presStyleCnt="0"/>
      <dgm:spPr/>
    </dgm:pt>
    <dgm:pt modelId="{40279CE7-C3F4-4DF6-A02A-837932E68076}" type="pres">
      <dgm:prSet presAssocID="{C7D2BF5F-2160-4F1B-B9A0-756EE86FBACD}" presName="conn2-1" presStyleLbl="parChTrans1D4" presStyleIdx="2" presStyleCnt="6"/>
      <dgm:spPr/>
    </dgm:pt>
    <dgm:pt modelId="{BE2E24FD-6A47-4483-91E5-04F976C4214A}" type="pres">
      <dgm:prSet presAssocID="{C7D2BF5F-2160-4F1B-B9A0-756EE86FBACD}" presName="connTx" presStyleLbl="parChTrans1D4" presStyleIdx="2" presStyleCnt="6"/>
      <dgm:spPr/>
    </dgm:pt>
    <dgm:pt modelId="{89A315E4-6F3C-4092-AD49-E3BB44110323}" type="pres">
      <dgm:prSet presAssocID="{ED397C4B-3FF8-43C7-AFB2-943BA49DFDFA}" presName="root2" presStyleCnt="0"/>
      <dgm:spPr/>
    </dgm:pt>
    <dgm:pt modelId="{35148660-7C1E-4AB3-94A2-9D39BDC2272C}" type="pres">
      <dgm:prSet presAssocID="{ED397C4B-3FF8-43C7-AFB2-943BA49DFDFA}" presName="LevelTwoTextNode" presStyleLbl="node4" presStyleIdx="2" presStyleCnt="6">
        <dgm:presLayoutVars>
          <dgm:chPref val="3"/>
        </dgm:presLayoutVars>
      </dgm:prSet>
      <dgm:spPr/>
    </dgm:pt>
    <dgm:pt modelId="{A5017805-8B03-4B07-A3F9-37DD0A3CC470}" type="pres">
      <dgm:prSet presAssocID="{ED397C4B-3FF8-43C7-AFB2-943BA49DFDFA}" presName="level3hierChild" presStyleCnt="0"/>
      <dgm:spPr/>
    </dgm:pt>
    <dgm:pt modelId="{06917447-A603-4E65-9FC2-D499E1F092C8}" type="pres">
      <dgm:prSet presAssocID="{E0F2D951-7FB4-46EC-9AC0-17CD94E674E8}" presName="conn2-1" presStyleLbl="parChTrans1D2" presStyleIdx="1" presStyleCnt="2"/>
      <dgm:spPr/>
    </dgm:pt>
    <dgm:pt modelId="{90E16EEE-6BA0-4943-8A4D-5314DC0B9FBE}" type="pres">
      <dgm:prSet presAssocID="{E0F2D951-7FB4-46EC-9AC0-17CD94E674E8}" presName="connTx" presStyleLbl="parChTrans1D2" presStyleIdx="1" presStyleCnt="2"/>
      <dgm:spPr/>
    </dgm:pt>
    <dgm:pt modelId="{6DB120CB-5862-4C84-9EE0-7CC842349CAA}" type="pres">
      <dgm:prSet presAssocID="{E8E97BA4-3E81-4BF2-B2BF-55FCE0202493}" presName="root2" presStyleCnt="0"/>
      <dgm:spPr/>
    </dgm:pt>
    <dgm:pt modelId="{12149BDC-7429-4A3D-9F11-5B0D56CBA094}" type="pres">
      <dgm:prSet presAssocID="{E8E97BA4-3E81-4BF2-B2BF-55FCE0202493}" presName="LevelTwoTextNode" presStyleLbl="node2" presStyleIdx="1" presStyleCnt="2">
        <dgm:presLayoutVars>
          <dgm:chPref val="3"/>
        </dgm:presLayoutVars>
      </dgm:prSet>
      <dgm:spPr/>
    </dgm:pt>
    <dgm:pt modelId="{6FAE81C0-1D60-470A-B84A-7706AD390F5C}" type="pres">
      <dgm:prSet presAssocID="{E8E97BA4-3E81-4BF2-B2BF-55FCE0202493}" presName="level3hierChild" presStyleCnt="0"/>
      <dgm:spPr/>
    </dgm:pt>
    <dgm:pt modelId="{4E210524-63B2-46BA-88BF-AC994F784DB7}" type="pres">
      <dgm:prSet presAssocID="{7A0A8722-618C-49BB-928E-90E432D27A95}" presName="conn2-1" presStyleLbl="parChTrans1D3" presStyleIdx="2" presStyleCnt="4"/>
      <dgm:spPr/>
    </dgm:pt>
    <dgm:pt modelId="{B066DAD5-171B-474A-8330-56773FC85091}" type="pres">
      <dgm:prSet presAssocID="{7A0A8722-618C-49BB-928E-90E432D27A95}" presName="connTx" presStyleLbl="parChTrans1D3" presStyleIdx="2" presStyleCnt="4"/>
      <dgm:spPr/>
    </dgm:pt>
    <dgm:pt modelId="{E1BF7480-514D-4BBC-8C02-FF501EC72357}" type="pres">
      <dgm:prSet presAssocID="{EBBD4A29-A00C-40FF-9EEF-029505AA1317}" presName="root2" presStyleCnt="0"/>
      <dgm:spPr/>
    </dgm:pt>
    <dgm:pt modelId="{4B83A63A-0E02-44BF-83A2-84E9F47A9FCB}" type="pres">
      <dgm:prSet presAssocID="{EBBD4A29-A00C-40FF-9EEF-029505AA1317}" presName="LevelTwoTextNode" presStyleLbl="node3" presStyleIdx="2" presStyleCnt="4">
        <dgm:presLayoutVars>
          <dgm:chPref val="3"/>
        </dgm:presLayoutVars>
      </dgm:prSet>
      <dgm:spPr/>
    </dgm:pt>
    <dgm:pt modelId="{53C778AB-D513-43E8-9094-A37BE14A6502}" type="pres">
      <dgm:prSet presAssocID="{EBBD4A29-A00C-40FF-9EEF-029505AA1317}" presName="level3hierChild" presStyleCnt="0"/>
      <dgm:spPr/>
    </dgm:pt>
    <dgm:pt modelId="{48694CCC-1391-4EF4-9C30-31C1DA88B29F}" type="pres">
      <dgm:prSet presAssocID="{61CD98B8-BB6B-43E5-9694-D2D6A47291C4}" presName="conn2-1" presStyleLbl="parChTrans1D4" presStyleIdx="3" presStyleCnt="6"/>
      <dgm:spPr/>
    </dgm:pt>
    <dgm:pt modelId="{BD0E8D62-2122-412C-9AD0-032836C7C172}" type="pres">
      <dgm:prSet presAssocID="{61CD98B8-BB6B-43E5-9694-D2D6A47291C4}" presName="connTx" presStyleLbl="parChTrans1D4" presStyleIdx="3" presStyleCnt="6"/>
      <dgm:spPr/>
    </dgm:pt>
    <dgm:pt modelId="{7C8C81E5-B911-4543-ADBE-CB66F38CB0E2}" type="pres">
      <dgm:prSet presAssocID="{C6637FEE-0FB3-4532-9487-5671AB3452D8}" presName="root2" presStyleCnt="0"/>
      <dgm:spPr/>
    </dgm:pt>
    <dgm:pt modelId="{2AB8D2D3-677E-4694-8286-F696A483FF85}" type="pres">
      <dgm:prSet presAssocID="{C6637FEE-0FB3-4532-9487-5671AB3452D8}" presName="LevelTwoTextNode" presStyleLbl="node4" presStyleIdx="3" presStyleCnt="6">
        <dgm:presLayoutVars>
          <dgm:chPref val="3"/>
        </dgm:presLayoutVars>
      </dgm:prSet>
      <dgm:spPr/>
    </dgm:pt>
    <dgm:pt modelId="{CD511D84-6B4F-46CC-9B36-2469AE1B882D}" type="pres">
      <dgm:prSet presAssocID="{C6637FEE-0FB3-4532-9487-5671AB3452D8}" presName="level3hierChild" presStyleCnt="0"/>
      <dgm:spPr/>
    </dgm:pt>
    <dgm:pt modelId="{27E3EA24-5491-4C95-B15E-8D978E94B454}" type="pres">
      <dgm:prSet presAssocID="{9A587C6F-F327-4560-88A4-DF880861B664}" presName="conn2-1" presStyleLbl="parChTrans1D4" presStyleIdx="4" presStyleCnt="6"/>
      <dgm:spPr/>
    </dgm:pt>
    <dgm:pt modelId="{F81488A8-249A-4C58-A816-17F7FF68234C}" type="pres">
      <dgm:prSet presAssocID="{9A587C6F-F327-4560-88A4-DF880861B664}" presName="connTx" presStyleLbl="parChTrans1D4" presStyleIdx="4" presStyleCnt="6"/>
      <dgm:spPr/>
    </dgm:pt>
    <dgm:pt modelId="{DAE8AA25-8834-4417-9FA7-7A01F7EADCD6}" type="pres">
      <dgm:prSet presAssocID="{D2867E43-37D7-408A-B4F5-FC01CB6C8F6C}" presName="root2" presStyleCnt="0"/>
      <dgm:spPr/>
    </dgm:pt>
    <dgm:pt modelId="{178EC08F-62C3-4A9B-846C-4004F31D9990}" type="pres">
      <dgm:prSet presAssocID="{D2867E43-37D7-408A-B4F5-FC01CB6C8F6C}" presName="LevelTwoTextNode" presStyleLbl="node4" presStyleIdx="4" presStyleCnt="6">
        <dgm:presLayoutVars>
          <dgm:chPref val="3"/>
        </dgm:presLayoutVars>
      </dgm:prSet>
      <dgm:spPr>
        <a:xfrm>
          <a:off x="6200204" y="3034241"/>
          <a:ext cx="1317935" cy="658967"/>
        </a:xfrm>
        <a:prstGeom prst="roundRect">
          <a:avLst>
            <a:gd name="adj" fmla="val 10000"/>
          </a:avLst>
        </a:prstGeom>
      </dgm:spPr>
    </dgm:pt>
    <dgm:pt modelId="{E00A53F2-FA40-4EAA-8529-202F2184AA0B}" type="pres">
      <dgm:prSet presAssocID="{D2867E43-37D7-408A-B4F5-FC01CB6C8F6C}" presName="level3hierChild" presStyleCnt="0"/>
      <dgm:spPr/>
    </dgm:pt>
    <dgm:pt modelId="{57389D64-B410-41EA-9260-CE8B946EA0F2}" type="pres">
      <dgm:prSet presAssocID="{9BCA0F40-571B-4379-BB74-2CD9E61040D1}" presName="conn2-1" presStyleLbl="parChTrans1D3" presStyleIdx="3" presStyleCnt="4"/>
      <dgm:spPr/>
    </dgm:pt>
    <dgm:pt modelId="{0D4F9AB2-F625-4395-B9AB-D2CF7AFF796D}" type="pres">
      <dgm:prSet presAssocID="{9BCA0F40-571B-4379-BB74-2CD9E61040D1}" presName="connTx" presStyleLbl="parChTrans1D3" presStyleIdx="3" presStyleCnt="4"/>
      <dgm:spPr/>
    </dgm:pt>
    <dgm:pt modelId="{FBFFF884-A697-425E-9FAC-5D374CEF1345}" type="pres">
      <dgm:prSet presAssocID="{DFDF8DFB-770E-4F5E-A138-A3CE78F2022C}" presName="root2" presStyleCnt="0"/>
      <dgm:spPr/>
    </dgm:pt>
    <dgm:pt modelId="{CDFF1039-143D-446D-B7BC-5E69F9DA949F}" type="pres">
      <dgm:prSet presAssocID="{DFDF8DFB-770E-4F5E-A138-A3CE78F2022C}" presName="LevelTwoTextNode" presStyleLbl="node3" presStyleIdx="3" presStyleCnt="4">
        <dgm:presLayoutVars>
          <dgm:chPref val="3"/>
        </dgm:presLayoutVars>
      </dgm:prSet>
      <dgm:spPr/>
    </dgm:pt>
    <dgm:pt modelId="{8E044F9F-9744-42DE-B4DD-2D6100F75D4E}" type="pres">
      <dgm:prSet presAssocID="{DFDF8DFB-770E-4F5E-A138-A3CE78F2022C}" presName="level3hierChild" presStyleCnt="0"/>
      <dgm:spPr/>
    </dgm:pt>
    <dgm:pt modelId="{3DA6CF82-27AE-47F7-A190-D0E2EE674A4B}" type="pres">
      <dgm:prSet presAssocID="{25DBA565-CA7D-43F7-B564-1B0823D4FE79}" presName="conn2-1" presStyleLbl="parChTrans1D4" presStyleIdx="5" presStyleCnt="6"/>
      <dgm:spPr/>
    </dgm:pt>
    <dgm:pt modelId="{FCF206FC-FFAC-4171-8617-45680857EA58}" type="pres">
      <dgm:prSet presAssocID="{25DBA565-CA7D-43F7-B564-1B0823D4FE79}" presName="connTx" presStyleLbl="parChTrans1D4" presStyleIdx="5" presStyleCnt="6"/>
      <dgm:spPr/>
    </dgm:pt>
    <dgm:pt modelId="{F2ACF549-3011-4E4E-9100-E390EF9D4BB1}" type="pres">
      <dgm:prSet presAssocID="{C63AE13D-85E7-467D-AED1-013EEC04FE7D}" presName="root2" presStyleCnt="0"/>
      <dgm:spPr/>
    </dgm:pt>
    <dgm:pt modelId="{ED277023-C623-43E2-861F-874ECECE1A17}" type="pres">
      <dgm:prSet presAssocID="{C63AE13D-85E7-467D-AED1-013EEC04FE7D}" presName="LevelTwoTextNode" presStyleLbl="node4" presStyleIdx="5" presStyleCnt="6">
        <dgm:presLayoutVars>
          <dgm:chPref val="3"/>
        </dgm:presLayoutVars>
      </dgm:prSet>
      <dgm:spPr/>
    </dgm:pt>
    <dgm:pt modelId="{6AC01DDD-5CFE-495B-9574-FEDDF84E2778}" type="pres">
      <dgm:prSet presAssocID="{C63AE13D-85E7-467D-AED1-013EEC04FE7D}" presName="level3hierChild" presStyleCnt="0"/>
      <dgm:spPr/>
    </dgm:pt>
  </dgm:ptLst>
  <dgm:cxnLst>
    <dgm:cxn modelId="{55E24F00-8B0A-4AB3-B451-4B1F63F5D288}" srcId="{8C22994A-6C87-4778-9604-B44579DA5A64}" destId="{421FE84E-E313-451F-953E-B3C36BC18FAE}" srcOrd="1" destOrd="0" parTransId="{0FE0AC1B-BFC7-4CD1-ADE1-1E1DA45E6DCB}" sibTransId="{A39A2044-7A95-4E75-A0BE-560063127F7D}"/>
    <dgm:cxn modelId="{35E0DF0B-7FC4-4057-8863-39AE33ED14A9}" srcId="{8C22994A-6C87-4778-9604-B44579DA5A64}" destId="{E34F46F6-202B-41D2-A438-F74B9032655E}" srcOrd="0" destOrd="0" parTransId="{69E257A6-B7E3-4F77-BFE3-3104A96745D3}" sibTransId="{AA118AAE-2995-46C1-8B41-F8783047C8A8}"/>
    <dgm:cxn modelId="{4BD8720F-4749-4222-92B5-D861E85886F1}" type="presOf" srcId="{2271F7E3-6999-477A-9E6B-CE18D66C7D37}" destId="{25A113C8-8072-43F9-89D4-9ED32583A830}" srcOrd="0" destOrd="0" presId="urn:microsoft.com/office/officeart/2005/8/layout/hierarchy2"/>
    <dgm:cxn modelId="{C19F540F-DE66-437F-A4B9-653F72C06A3E}" type="presOf" srcId="{9BCA0F40-571B-4379-BB74-2CD9E61040D1}" destId="{57389D64-B410-41EA-9260-CE8B946EA0F2}" srcOrd="0" destOrd="0" presId="urn:microsoft.com/office/officeart/2005/8/layout/hierarchy2"/>
    <dgm:cxn modelId="{D7BD4D10-FBE3-4B16-A7A0-3CE1FAFF557E}" type="presOf" srcId="{E34F46F6-202B-41D2-A438-F74B9032655E}" destId="{79A8959C-0267-4FB7-8B78-A9B4D9B32B12}" srcOrd="0" destOrd="0" presId="urn:microsoft.com/office/officeart/2005/8/layout/hierarchy2"/>
    <dgm:cxn modelId="{7902A634-A01A-4957-97B9-1ECE92752EBE}" type="presOf" srcId="{9A587C6F-F327-4560-88A4-DF880861B664}" destId="{F81488A8-249A-4C58-A816-17F7FF68234C}" srcOrd="1" destOrd="0" presId="urn:microsoft.com/office/officeart/2005/8/layout/hierarchy2"/>
    <dgm:cxn modelId="{E015E535-DCC8-4F8D-8133-EC70A53A424C}" srcId="{EBBD4A29-A00C-40FF-9EEF-029505AA1317}" destId="{C6637FEE-0FB3-4532-9487-5671AB3452D8}" srcOrd="0" destOrd="0" parTransId="{61CD98B8-BB6B-43E5-9694-D2D6A47291C4}" sibTransId="{9F79561A-1249-4B59-82E7-D6EB136C2D54}"/>
    <dgm:cxn modelId="{09BEC63E-C4F7-4129-9441-37C7065FDE88}" type="presOf" srcId="{25DBA565-CA7D-43F7-B564-1B0823D4FE79}" destId="{3DA6CF82-27AE-47F7-A190-D0E2EE674A4B}" srcOrd="0" destOrd="0" presId="urn:microsoft.com/office/officeart/2005/8/layout/hierarchy2"/>
    <dgm:cxn modelId="{45830640-FC47-4D19-8133-8AA0AFA4914A}" type="presOf" srcId="{0FE0AC1B-BFC7-4CD1-ADE1-1E1DA45E6DCB}" destId="{59EC2DE5-BDF2-4775-A244-9FF0B18A3C90}" srcOrd="1" destOrd="0" presId="urn:microsoft.com/office/officeart/2005/8/layout/hierarchy2"/>
    <dgm:cxn modelId="{2BA70B5B-707F-4EBA-9FBB-175B1941E771}" srcId="{DFDF8DFB-770E-4F5E-A138-A3CE78F2022C}" destId="{C63AE13D-85E7-467D-AED1-013EEC04FE7D}" srcOrd="0" destOrd="0" parTransId="{25DBA565-CA7D-43F7-B564-1B0823D4FE79}" sibTransId="{A5D38088-E471-45CF-AD1A-233067B8677A}"/>
    <dgm:cxn modelId="{CC77FA5E-8AED-424D-B203-68CB91B1F7DD}" type="presOf" srcId="{ED397C4B-3FF8-43C7-AFB2-943BA49DFDFA}" destId="{35148660-7C1E-4AB3-94A2-9D39BDC2272C}" srcOrd="0" destOrd="0" presId="urn:microsoft.com/office/officeart/2005/8/layout/hierarchy2"/>
    <dgm:cxn modelId="{C4447B61-DBFE-43A6-9F80-BF7A12305C49}" srcId="{EBBD4A29-A00C-40FF-9EEF-029505AA1317}" destId="{D2867E43-37D7-408A-B4F5-FC01CB6C8F6C}" srcOrd="1" destOrd="0" parTransId="{9A587C6F-F327-4560-88A4-DF880861B664}" sibTransId="{DD9CDDEA-BD6B-4E58-A643-BAC1269E7CEF}"/>
    <dgm:cxn modelId="{7C680B64-9C23-4EE7-BE7B-4E6C0ECA2044}" type="presOf" srcId="{61CD98B8-BB6B-43E5-9694-D2D6A47291C4}" destId="{BD0E8D62-2122-412C-9AD0-032836C7C172}" srcOrd="1" destOrd="0" presId="urn:microsoft.com/office/officeart/2005/8/layout/hierarchy2"/>
    <dgm:cxn modelId="{EAF3224C-F44C-4964-8A07-B35A2037A678}" type="presOf" srcId="{9BCA0F40-571B-4379-BB74-2CD9E61040D1}" destId="{0D4F9AB2-F625-4395-B9AB-D2CF7AFF796D}" srcOrd="1" destOrd="0" presId="urn:microsoft.com/office/officeart/2005/8/layout/hierarchy2"/>
    <dgm:cxn modelId="{70258D6D-6DE0-4EF4-967B-6FAAD293192F}" type="presOf" srcId="{E8E97BA4-3E81-4BF2-B2BF-55FCE0202493}" destId="{12149BDC-7429-4A3D-9F11-5B0D56CBA094}" srcOrd="0" destOrd="0" presId="urn:microsoft.com/office/officeart/2005/8/layout/hierarchy2"/>
    <dgm:cxn modelId="{CEDE3F71-D7B5-4C86-9C64-C53D9F09A762}" srcId="{E8E97BA4-3E81-4BF2-B2BF-55FCE0202493}" destId="{EBBD4A29-A00C-40FF-9EEF-029505AA1317}" srcOrd="0" destOrd="0" parTransId="{7A0A8722-618C-49BB-928E-90E432D27A95}" sibTransId="{5E35DC17-E949-4DB6-BD65-D665C3778283}"/>
    <dgm:cxn modelId="{7221D051-7A18-4DCF-9CAB-F831E19DEACE}" srcId="{308731A1-30B3-44B7-8C14-ED5DEA652356}" destId="{AA68AE02-CD46-4B96-BBDA-05B734CBAFE6}" srcOrd="1" destOrd="0" parTransId="{50D4A3EC-0BEF-437A-885C-333ACB2621B0}" sibTransId="{36B5CB08-036B-45C9-B10E-1C6C7002F38A}"/>
    <dgm:cxn modelId="{9D8DE354-1293-43BE-920C-B9D5CF115718}" type="presOf" srcId="{69E257A6-B7E3-4F77-BFE3-3104A96745D3}" destId="{3A41823B-86F3-406F-A054-374247C2ECAB}" srcOrd="0" destOrd="0" presId="urn:microsoft.com/office/officeart/2005/8/layout/hierarchy2"/>
    <dgm:cxn modelId="{BB49F375-5060-470A-AAC6-112E578717C2}" srcId="{AA68AE02-CD46-4B96-BBDA-05B734CBAFE6}" destId="{ED397C4B-3FF8-43C7-AFB2-943BA49DFDFA}" srcOrd="0" destOrd="0" parTransId="{C7D2BF5F-2160-4F1B-B9A0-756EE86FBACD}" sibTransId="{C76DA601-EA3F-4C9D-B814-35B50D7D03B6}"/>
    <dgm:cxn modelId="{14A4DC56-063D-4244-AA9A-31892096DA42}" type="presOf" srcId="{308731A1-30B3-44B7-8C14-ED5DEA652356}" destId="{18E32922-F51C-40B9-BC52-EAC7F334A273}" srcOrd="0" destOrd="0" presId="urn:microsoft.com/office/officeart/2005/8/layout/hierarchy2"/>
    <dgm:cxn modelId="{E470067D-B037-4802-B95C-2A7D4DBCF712}" type="presOf" srcId="{AA68AE02-CD46-4B96-BBDA-05B734CBAFE6}" destId="{FB5F17FA-01F3-4DCE-AFEF-3373A9A37BF6}" srcOrd="0" destOrd="0" presId="urn:microsoft.com/office/officeart/2005/8/layout/hierarchy2"/>
    <dgm:cxn modelId="{83DE6180-8B16-456A-8A79-EC10C7421FDC}" type="presOf" srcId="{9A587C6F-F327-4560-88A4-DF880861B664}" destId="{27E3EA24-5491-4C95-B15E-8D978E94B454}" srcOrd="0" destOrd="0" presId="urn:microsoft.com/office/officeart/2005/8/layout/hierarchy2"/>
    <dgm:cxn modelId="{A2257B81-FA1D-4135-BCB9-36EA5A858C6B}" type="presOf" srcId="{7A0A8722-618C-49BB-928E-90E432D27A95}" destId="{4E210524-63B2-46BA-88BF-AC994F784DB7}" srcOrd="0" destOrd="0" presId="urn:microsoft.com/office/officeart/2005/8/layout/hierarchy2"/>
    <dgm:cxn modelId="{DFBB5283-0426-4F72-8FCC-41B1D992F85E}" type="presOf" srcId="{50D4A3EC-0BEF-437A-885C-333ACB2621B0}" destId="{24301EE5-773A-4EC5-97F6-0F6283266BB0}" srcOrd="1" destOrd="0" presId="urn:microsoft.com/office/officeart/2005/8/layout/hierarchy2"/>
    <dgm:cxn modelId="{B34AF989-653A-4053-8A67-FB80ABDC5948}" type="presOf" srcId="{69E257A6-B7E3-4F77-BFE3-3104A96745D3}" destId="{C3E950BE-1303-4C53-AB68-D937916DB24A}" srcOrd="1" destOrd="0" presId="urn:microsoft.com/office/officeart/2005/8/layout/hierarchy2"/>
    <dgm:cxn modelId="{45BA5493-DBB0-4C3F-8839-5D200367D1DA}" type="presOf" srcId="{0FE0AC1B-BFC7-4CD1-ADE1-1E1DA45E6DCB}" destId="{547094B5-6C7F-4543-AC5F-6BB8797E1833}" srcOrd="0" destOrd="0" presId="urn:microsoft.com/office/officeart/2005/8/layout/hierarchy2"/>
    <dgm:cxn modelId="{4A941F94-6128-4426-BDBB-408FC785D553}" type="presOf" srcId="{779A652F-6E2E-448F-B989-231B13B490F9}" destId="{C445F999-041F-4752-9E41-2E18A531AD57}" srcOrd="1" destOrd="0" presId="urn:microsoft.com/office/officeart/2005/8/layout/hierarchy2"/>
    <dgm:cxn modelId="{B41D8794-1082-4A92-8815-C4264E68B6D9}" type="presOf" srcId="{25DBA565-CA7D-43F7-B564-1B0823D4FE79}" destId="{FCF206FC-FFAC-4171-8617-45680857EA58}" srcOrd="1" destOrd="0" presId="urn:microsoft.com/office/officeart/2005/8/layout/hierarchy2"/>
    <dgm:cxn modelId="{EB48CA96-1F34-4F7E-8754-EAEBDF369E44}" type="presOf" srcId="{61CD98B8-BB6B-43E5-9694-D2D6A47291C4}" destId="{48694CCC-1391-4EF4-9C30-31C1DA88B29F}" srcOrd="0" destOrd="0" presId="urn:microsoft.com/office/officeart/2005/8/layout/hierarchy2"/>
    <dgm:cxn modelId="{27319598-1993-46B4-8DD4-7C44179FAB1B}" type="presOf" srcId="{7A0A8722-618C-49BB-928E-90E432D27A95}" destId="{B066DAD5-171B-474A-8330-56773FC85091}" srcOrd="1" destOrd="0" presId="urn:microsoft.com/office/officeart/2005/8/layout/hierarchy2"/>
    <dgm:cxn modelId="{27B9C99B-10A2-4803-9CA1-40F65D5D8D05}" srcId="{308731A1-30B3-44B7-8C14-ED5DEA652356}" destId="{8C22994A-6C87-4778-9604-B44579DA5A64}" srcOrd="0" destOrd="0" parTransId="{2271F7E3-6999-477A-9E6B-CE18D66C7D37}" sibTransId="{1AB1CF33-DBFD-4FA1-B515-195918D7E4D1}"/>
    <dgm:cxn modelId="{D04A2E9C-DAAF-4F79-84F8-D463637627A1}" srcId="{D375F5CE-A497-4D94-9390-5EE001E771C4}" destId="{E8E97BA4-3E81-4BF2-B2BF-55FCE0202493}" srcOrd="1" destOrd="0" parTransId="{E0F2D951-7FB4-46EC-9AC0-17CD94E674E8}" sibTransId="{82337CAD-4F84-4CAA-BE0A-F910E654E021}"/>
    <dgm:cxn modelId="{D655CD9E-5385-44AA-AFD7-3FAAEA269173}" type="presOf" srcId="{779A652F-6E2E-448F-B989-231B13B490F9}" destId="{D93CA1E7-1E9E-40F3-BD60-501BD0921ADB}" srcOrd="0" destOrd="0" presId="urn:microsoft.com/office/officeart/2005/8/layout/hierarchy2"/>
    <dgm:cxn modelId="{F2144CA0-B2A1-46B8-BB0B-D3F1E2B47504}" srcId="{D375F5CE-A497-4D94-9390-5EE001E771C4}" destId="{308731A1-30B3-44B7-8C14-ED5DEA652356}" srcOrd="0" destOrd="0" parTransId="{779A652F-6E2E-448F-B989-231B13B490F9}" sibTransId="{CB08FA17-C73C-49DE-A0C2-523942C96612}"/>
    <dgm:cxn modelId="{BD23F2A7-4F4A-4CC4-BEB0-1437C0F0AA42}" type="presOf" srcId="{C7D2BF5F-2160-4F1B-B9A0-756EE86FBACD}" destId="{40279CE7-C3F4-4DF6-A02A-837932E68076}" srcOrd="0" destOrd="0" presId="urn:microsoft.com/office/officeart/2005/8/layout/hierarchy2"/>
    <dgm:cxn modelId="{D6EE87AC-BC16-48AE-9C2E-6AFF4A37DD3B}" type="presOf" srcId="{DFDF8DFB-770E-4F5E-A138-A3CE78F2022C}" destId="{CDFF1039-143D-446D-B7BC-5E69F9DA949F}" srcOrd="0" destOrd="0" presId="urn:microsoft.com/office/officeart/2005/8/layout/hierarchy2"/>
    <dgm:cxn modelId="{DEF7E5C2-9ED3-48B8-B680-F3F9D2305E01}" type="presOf" srcId="{8C22994A-6C87-4778-9604-B44579DA5A64}" destId="{03F1BF70-1109-4C0A-A4E7-965962B6CD26}" srcOrd="0" destOrd="0" presId="urn:microsoft.com/office/officeart/2005/8/layout/hierarchy2"/>
    <dgm:cxn modelId="{68D4EFC9-51F6-437A-92D6-6AABE517833D}" type="presOf" srcId="{C63AE13D-85E7-467D-AED1-013EEC04FE7D}" destId="{ED277023-C623-43E2-861F-874ECECE1A17}" srcOrd="0" destOrd="0" presId="urn:microsoft.com/office/officeart/2005/8/layout/hierarchy2"/>
    <dgm:cxn modelId="{B2B7F5D2-3D89-4473-9130-04D479A98EA9}" type="presOf" srcId="{E0F2D951-7FB4-46EC-9AC0-17CD94E674E8}" destId="{90E16EEE-6BA0-4943-8A4D-5314DC0B9FBE}" srcOrd="1" destOrd="0" presId="urn:microsoft.com/office/officeart/2005/8/layout/hierarchy2"/>
    <dgm:cxn modelId="{CBB82CD3-1F37-4769-B5BD-8753504A3284}" type="presOf" srcId="{50D4A3EC-0BEF-437A-885C-333ACB2621B0}" destId="{E0A73A1B-2B97-45BA-8A57-D9AA1DC86B87}" srcOrd="0" destOrd="0" presId="urn:microsoft.com/office/officeart/2005/8/layout/hierarchy2"/>
    <dgm:cxn modelId="{801F48D6-E2FC-4772-A1EA-58CBD12167FA}" srcId="{A9D0601D-C30D-4A46-B353-97FCDE897D7B}" destId="{D375F5CE-A497-4D94-9390-5EE001E771C4}" srcOrd="0" destOrd="0" parTransId="{28ED2A10-62B8-4F91-A0D5-E8DDD577CF53}" sibTransId="{A4C253F0-248F-4B08-8EFE-AF7FA629F822}"/>
    <dgm:cxn modelId="{5879D3D8-35FB-4ED2-9DAD-A2B40B4D4162}" type="presOf" srcId="{C7D2BF5F-2160-4F1B-B9A0-756EE86FBACD}" destId="{BE2E24FD-6A47-4483-91E5-04F976C4214A}" srcOrd="1" destOrd="0" presId="urn:microsoft.com/office/officeart/2005/8/layout/hierarchy2"/>
    <dgm:cxn modelId="{D3140FDA-DE1C-4902-B265-40270A57E780}" type="presOf" srcId="{C6637FEE-0FB3-4532-9487-5671AB3452D8}" destId="{2AB8D2D3-677E-4694-8286-F696A483FF85}" srcOrd="0" destOrd="0" presId="urn:microsoft.com/office/officeart/2005/8/layout/hierarchy2"/>
    <dgm:cxn modelId="{0BA736E6-133F-46A1-8D69-E87DEFBC1250}" type="presOf" srcId="{D375F5CE-A497-4D94-9390-5EE001E771C4}" destId="{0125BD50-D79D-4CC3-9755-0DA3E2D8E3FD}" srcOrd="0" destOrd="0" presId="urn:microsoft.com/office/officeart/2005/8/layout/hierarchy2"/>
    <dgm:cxn modelId="{764857E7-8073-4439-BD6B-DD0F379A4646}" type="presOf" srcId="{EBBD4A29-A00C-40FF-9EEF-029505AA1317}" destId="{4B83A63A-0E02-44BF-83A2-84E9F47A9FCB}" srcOrd="0" destOrd="0" presId="urn:microsoft.com/office/officeart/2005/8/layout/hierarchy2"/>
    <dgm:cxn modelId="{E1A500E9-51F3-4913-B604-DE042553A70E}" type="presOf" srcId="{2271F7E3-6999-477A-9E6B-CE18D66C7D37}" destId="{B6A6DF98-94CC-4CDB-8912-43FA13112CF3}" srcOrd="1" destOrd="0" presId="urn:microsoft.com/office/officeart/2005/8/layout/hierarchy2"/>
    <dgm:cxn modelId="{BC17D1E9-DA7E-41AF-9EAA-6DCBE5CA7629}" srcId="{E8E97BA4-3E81-4BF2-B2BF-55FCE0202493}" destId="{DFDF8DFB-770E-4F5E-A138-A3CE78F2022C}" srcOrd="1" destOrd="0" parTransId="{9BCA0F40-571B-4379-BB74-2CD9E61040D1}" sibTransId="{A0709CB2-193D-4FF2-A1FE-0AA21646369B}"/>
    <dgm:cxn modelId="{84A05EF3-0CE0-45E0-9CE6-F5A7C0A5FDCD}" type="presOf" srcId="{421FE84E-E313-451F-953E-B3C36BC18FAE}" destId="{B850CD55-517E-4C23-963D-66006E75A232}" srcOrd="0" destOrd="0" presId="urn:microsoft.com/office/officeart/2005/8/layout/hierarchy2"/>
    <dgm:cxn modelId="{382466F3-AF66-4DEC-9231-F18BBE40903F}" type="presOf" srcId="{E0F2D951-7FB4-46EC-9AC0-17CD94E674E8}" destId="{06917447-A603-4E65-9FC2-D499E1F092C8}" srcOrd="0" destOrd="0" presId="urn:microsoft.com/office/officeart/2005/8/layout/hierarchy2"/>
    <dgm:cxn modelId="{F756B7F7-BF80-4770-BECE-4416400437B3}" type="presOf" srcId="{D2867E43-37D7-408A-B4F5-FC01CB6C8F6C}" destId="{178EC08F-62C3-4A9B-846C-4004F31D9990}" srcOrd="0" destOrd="0" presId="urn:microsoft.com/office/officeart/2005/8/layout/hierarchy2"/>
    <dgm:cxn modelId="{5226ACFA-CE71-4A07-AD3C-6C96CCC85440}" type="presOf" srcId="{A9D0601D-C30D-4A46-B353-97FCDE897D7B}" destId="{D5D6806D-4546-485C-B52C-9C040D48B893}" srcOrd="0" destOrd="0" presId="urn:microsoft.com/office/officeart/2005/8/layout/hierarchy2"/>
    <dgm:cxn modelId="{FCDCC9FB-E691-49A5-A29A-FE2DF3EA13E7}" type="presParOf" srcId="{D5D6806D-4546-485C-B52C-9C040D48B893}" destId="{B89F1F21-A5C4-45FE-B012-DA4D0B972B0B}" srcOrd="0" destOrd="0" presId="urn:microsoft.com/office/officeart/2005/8/layout/hierarchy2"/>
    <dgm:cxn modelId="{EC409B56-33D1-4C48-AF7E-A89EFDD083FE}" type="presParOf" srcId="{B89F1F21-A5C4-45FE-B012-DA4D0B972B0B}" destId="{0125BD50-D79D-4CC3-9755-0DA3E2D8E3FD}" srcOrd="0" destOrd="0" presId="urn:microsoft.com/office/officeart/2005/8/layout/hierarchy2"/>
    <dgm:cxn modelId="{CD538CEC-E919-4F3C-9CA7-0F6B996639F3}" type="presParOf" srcId="{B89F1F21-A5C4-45FE-B012-DA4D0B972B0B}" destId="{C0F8C703-F2D5-4D25-9D76-3B5B90F59A28}" srcOrd="1" destOrd="0" presId="urn:microsoft.com/office/officeart/2005/8/layout/hierarchy2"/>
    <dgm:cxn modelId="{0A7E7ABF-0DBC-4DFB-81DE-3EAF1B2CBF7C}" type="presParOf" srcId="{C0F8C703-F2D5-4D25-9D76-3B5B90F59A28}" destId="{D93CA1E7-1E9E-40F3-BD60-501BD0921ADB}" srcOrd="0" destOrd="0" presId="urn:microsoft.com/office/officeart/2005/8/layout/hierarchy2"/>
    <dgm:cxn modelId="{A920213D-2B22-49A9-A283-469A97088A55}" type="presParOf" srcId="{D93CA1E7-1E9E-40F3-BD60-501BD0921ADB}" destId="{C445F999-041F-4752-9E41-2E18A531AD57}" srcOrd="0" destOrd="0" presId="urn:microsoft.com/office/officeart/2005/8/layout/hierarchy2"/>
    <dgm:cxn modelId="{E06C853C-9B5E-43A4-A86A-1EAC05A9308A}" type="presParOf" srcId="{C0F8C703-F2D5-4D25-9D76-3B5B90F59A28}" destId="{8B8CAF1F-38B0-4032-8798-86DFCF8F8F8D}" srcOrd="1" destOrd="0" presId="urn:microsoft.com/office/officeart/2005/8/layout/hierarchy2"/>
    <dgm:cxn modelId="{20321EBB-9A06-4C35-82CD-3A38433AEF2E}" type="presParOf" srcId="{8B8CAF1F-38B0-4032-8798-86DFCF8F8F8D}" destId="{18E32922-F51C-40B9-BC52-EAC7F334A273}" srcOrd="0" destOrd="0" presId="urn:microsoft.com/office/officeart/2005/8/layout/hierarchy2"/>
    <dgm:cxn modelId="{7C6A5902-92A3-4BA4-B241-8C7AFFE09711}" type="presParOf" srcId="{8B8CAF1F-38B0-4032-8798-86DFCF8F8F8D}" destId="{D5702D07-435B-4D9D-BC30-F5CE4FF4F608}" srcOrd="1" destOrd="0" presId="urn:microsoft.com/office/officeart/2005/8/layout/hierarchy2"/>
    <dgm:cxn modelId="{7E356CD9-C1CB-4768-A5F3-8EB7D0794707}" type="presParOf" srcId="{D5702D07-435B-4D9D-BC30-F5CE4FF4F608}" destId="{25A113C8-8072-43F9-89D4-9ED32583A830}" srcOrd="0" destOrd="0" presId="urn:microsoft.com/office/officeart/2005/8/layout/hierarchy2"/>
    <dgm:cxn modelId="{599F8BAC-A203-4816-94BC-6B7D019C0AC9}" type="presParOf" srcId="{25A113C8-8072-43F9-89D4-9ED32583A830}" destId="{B6A6DF98-94CC-4CDB-8912-43FA13112CF3}" srcOrd="0" destOrd="0" presId="urn:microsoft.com/office/officeart/2005/8/layout/hierarchy2"/>
    <dgm:cxn modelId="{2481C1A2-AA83-4477-AC3E-2F7311C3070D}" type="presParOf" srcId="{D5702D07-435B-4D9D-BC30-F5CE4FF4F608}" destId="{E18C6BC4-CAC3-4FD3-BFA7-3577D40E96B7}" srcOrd="1" destOrd="0" presId="urn:microsoft.com/office/officeart/2005/8/layout/hierarchy2"/>
    <dgm:cxn modelId="{8A5674DE-A27F-451E-A717-C94E5746847B}" type="presParOf" srcId="{E18C6BC4-CAC3-4FD3-BFA7-3577D40E96B7}" destId="{03F1BF70-1109-4C0A-A4E7-965962B6CD26}" srcOrd="0" destOrd="0" presId="urn:microsoft.com/office/officeart/2005/8/layout/hierarchy2"/>
    <dgm:cxn modelId="{2B9234A5-D5FA-4776-BD53-FB2496208732}" type="presParOf" srcId="{E18C6BC4-CAC3-4FD3-BFA7-3577D40E96B7}" destId="{4A8CD520-4CD8-4242-B75E-1F8D61F2374C}" srcOrd="1" destOrd="0" presId="urn:microsoft.com/office/officeart/2005/8/layout/hierarchy2"/>
    <dgm:cxn modelId="{8D67237E-4B34-4295-8F5B-94A86895797E}" type="presParOf" srcId="{4A8CD520-4CD8-4242-B75E-1F8D61F2374C}" destId="{3A41823B-86F3-406F-A054-374247C2ECAB}" srcOrd="0" destOrd="0" presId="urn:microsoft.com/office/officeart/2005/8/layout/hierarchy2"/>
    <dgm:cxn modelId="{893F3536-D6C5-4B6B-A44B-D6A6775CE6D7}" type="presParOf" srcId="{3A41823B-86F3-406F-A054-374247C2ECAB}" destId="{C3E950BE-1303-4C53-AB68-D937916DB24A}" srcOrd="0" destOrd="0" presId="urn:microsoft.com/office/officeart/2005/8/layout/hierarchy2"/>
    <dgm:cxn modelId="{04B78349-5A00-49F7-8541-18F584FFD543}" type="presParOf" srcId="{4A8CD520-4CD8-4242-B75E-1F8D61F2374C}" destId="{79AEA70B-7B81-4B89-9A14-00EEA75B0DC0}" srcOrd="1" destOrd="0" presId="urn:microsoft.com/office/officeart/2005/8/layout/hierarchy2"/>
    <dgm:cxn modelId="{250B9240-D275-4009-85A5-74C4645D7AD8}" type="presParOf" srcId="{79AEA70B-7B81-4B89-9A14-00EEA75B0DC0}" destId="{79A8959C-0267-4FB7-8B78-A9B4D9B32B12}" srcOrd="0" destOrd="0" presId="urn:microsoft.com/office/officeart/2005/8/layout/hierarchy2"/>
    <dgm:cxn modelId="{B0E0EF1A-5EDB-4C74-8479-FDE7F81CE18E}" type="presParOf" srcId="{79AEA70B-7B81-4B89-9A14-00EEA75B0DC0}" destId="{C4F6D3F2-ACCD-429D-B4C1-77BF1034DF7A}" srcOrd="1" destOrd="0" presId="urn:microsoft.com/office/officeart/2005/8/layout/hierarchy2"/>
    <dgm:cxn modelId="{4DD6134E-D927-4100-BB49-CB830BC83645}" type="presParOf" srcId="{4A8CD520-4CD8-4242-B75E-1F8D61F2374C}" destId="{547094B5-6C7F-4543-AC5F-6BB8797E1833}" srcOrd="2" destOrd="0" presId="urn:microsoft.com/office/officeart/2005/8/layout/hierarchy2"/>
    <dgm:cxn modelId="{2AF64E56-B481-4533-BDE3-7189F8D4A6FA}" type="presParOf" srcId="{547094B5-6C7F-4543-AC5F-6BB8797E1833}" destId="{59EC2DE5-BDF2-4775-A244-9FF0B18A3C90}" srcOrd="0" destOrd="0" presId="urn:microsoft.com/office/officeart/2005/8/layout/hierarchy2"/>
    <dgm:cxn modelId="{507310EC-CF5B-40AE-B59F-06C9BAA799D2}" type="presParOf" srcId="{4A8CD520-4CD8-4242-B75E-1F8D61F2374C}" destId="{CC54CACD-6B01-4CA1-BAD9-0852ABE5D297}" srcOrd="3" destOrd="0" presId="urn:microsoft.com/office/officeart/2005/8/layout/hierarchy2"/>
    <dgm:cxn modelId="{430E07C4-AF5C-4189-B8E7-08A766E7304B}" type="presParOf" srcId="{CC54CACD-6B01-4CA1-BAD9-0852ABE5D297}" destId="{B850CD55-517E-4C23-963D-66006E75A232}" srcOrd="0" destOrd="0" presId="urn:microsoft.com/office/officeart/2005/8/layout/hierarchy2"/>
    <dgm:cxn modelId="{E5CFB632-87A5-461C-8597-24E294ABAB41}" type="presParOf" srcId="{CC54CACD-6B01-4CA1-BAD9-0852ABE5D297}" destId="{29CBD5C1-89D6-455A-A421-473A02511FA7}" srcOrd="1" destOrd="0" presId="urn:microsoft.com/office/officeart/2005/8/layout/hierarchy2"/>
    <dgm:cxn modelId="{C9D17B06-619B-40C0-ADA3-F637679F8EAD}" type="presParOf" srcId="{D5702D07-435B-4D9D-BC30-F5CE4FF4F608}" destId="{E0A73A1B-2B97-45BA-8A57-D9AA1DC86B87}" srcOrd="2" destOrd="0" presId="urn:microsoft.com/office/officeart/2005/8/layout/hierarchy2"/>
    <dgm:cxn modelId="{B6A90DBE-CAAF-4823-BDA6-92CD614976A3}" type="presParOf" srcId="{E0A73A1B-2B97-45BA-8A57-D9AA1DC86B87}" destId="{24301EE5-773A-4EC5-97F6-0F6283266BB0}" srcOrd="0" destOrd="0" presId="urn:microsoft.com/office/officeart/2005/8/layout/hierarchy2"/>
    <dgm:cxn modelId="{4DF8DC3F-084D-4C4A-BEE7-EDD9F890842B}" type="presParOf" srcId="{D5702D07-435B-4D9D-BC30-F5CE4FF4F608}" destId="{962D2993-1380-4C76-8F42-BAD25244E043}" srcOrd="3" destOrd="0" presId="urn:microsoft.com/office/officeart/2005/8/layout/hierarchy2"/>
    <dgm:cxn modelId="{0FC27E72-275B-416B-8F3A-405A60B7AEF4}" type="presParOf" srcId="{962D2993-1380-4C76-8F42-BAD25244E043}" destId="{FB5F17FA-01F3-4DCE-AFEF-3373A9A37BF6}" srcOrd="0" destOrd="0" presId="urn:microsoft.com/office/officeart/2005/8/layout/hierarchy2"/>
    <dgm:cxn modelId="{0906C611-E6F5-453E-BCFB-B39AAB1BCA47}" type="presParOf" srcId="{962D2993-1380-4C76-8F42-BAD25244E043}" destId="{22FEB322-5F0D-4D34-B738-D814B52298B0}" srcOrd="1" destOrd="0" presId="urn:microsoft.com/office/officeart/2005/8/layout/hierarchy2"/>
    <dgm:cxn modelId="{0B9A1649-8133-400C-ACD2-60698192BBF4}" type="presParOf" srcId="{22FEB322-5F0D-4D34-B738-D814B52298B0}" destId="{40279CE7-C3F4-4DF6-A02A-837932E68076}" srcOrd="0" destOrd="0" presId="urn:microsoft.com/office/officeart/2005/8/layout/hierarchy2"/>
    <dgm:cxn modelId="{B5B136B9-3BFB-4275-BD09-DEA152FD209C}" type="presParOf" srcId="{40279CE7-C3F4-4DF6-A02A-837932E68076}" destId="{BE2E24FD-6A47-4483-91E5-04F976C4214A}" srcOrd="0" destOrd="0" presId="urn:microsoft.com/office/officeart/2005/8/layout/hierarchy2"/>
    <dgm:cxn modelId="{8DDA8208-F728-447C-9809-1C4CFC57761F}" type="presParOf" srcId="{22FEB322-5F0D-4D34-B738-D814B52298B0}" destId="{89A315E4-6F3C-4092-AD49-E3BB44110323}" srcOrd="1" destOrd="0" presId="urn:microsoft.com/office/officeart/2005/8/layout/hierarchy2"/>
    <dgm:cxn modelId="{F7A7EFA6-C5AA-45E9-A957-8C7D87E00CDC}" type="presParOf" srcId="{89A315E4-6F3C-4092-AD49-E3BB44110323}" destId="{35148660-7C1E-4AB3-94A2-9D39BDC2272C}" srcOrd="0" destOrd="0" presId="urn:microsoft.com/office/officeart/2005/8/layout/hierarchy2"/>
    <dgm:cxn modelId="{B1ACF76A-D0D7-404C-A877-60790488A89C}" type="presParOf" srcId="{89A315E4-6F3C-4092-AD49-E3BB44110323}" destId="{A5017805-8B03-4B07-A3F9-37DD0A3CC470}" srcOrd="1" destOrd="0" presId="urn:microsoft.com/office/officeart/2005/8/layout/hierarchy2"/>
    <dgm:cxn modelId="{295D9E1F-5258-49C3-9E69-91094B90C57B}" type="presParOf" srcId="{C0F8C703-F2D5-4D25-9D76-3B5B90F59A28}" destId="{06917447-A603-4E65-9FC2-D499E1F092C8}" srcOrd="2" destOrd="0" presId="urn:microsoft.com/office/officeart/2005/8/layout/hierarchy2"/>
    <dgm:cxn modelId="{396B4DC9-1A52-46AA-A9DA-2EDF5B0799CA}" type="presParOf" srcId="{06917447-A603-4E65-9FC2-D499E1F092C8}" destId="{90E16EEE-6BA0-4943-8A4D-5314DC0B9FBE}" srcOrd="0" destOrd="0" presId="urn:microsoft.com/office/officeart/2005/8/layout/hierarchy2"/>
    <dgm:cxn modelId="{DA5FA48F-84D2-4E96-94C3-ED040AF50CEC}" type="presParOf" srcId="{C0F8C703-F2D5-4D25-9D76-3B5B90F59A28}" destId="{6DB120CB-5862-4C84-9EE0-7CC842349CAA}" srcOrd="3" destOrd="0" presId="urn:microsoft.com/office/officeart/2005/8/layout/hierarchy2"/>
    <dgm:cxn modelId="{328DE237-ED61-4F71-BE80-207F403901CD}" type="presParOf" srcId="{6DB120CB-5862-4C84-9EE0-7CC842349CAA}" destId="{12149BDC-7429-4A3D-9F11-5B0D56CBA094}" srcOrd="0" destOrd="0" presId="urn:microsoft.com/office/officeart/2005/8/layout/hierarchy2"/>
    <dgm:cxn modelId="{716E3033-7B10-4431-B047-CF58AFDA24DA}" type="presParOf" srcId="{6DB120CB-5862-4C84-9EE0-7CC842349CAA}" destId="{6FAE81C0-1D60-470A-B84A-7706AD390F5C}" srcOrd="1" destOrd="0" presId="urn:microsoft.com/office/officeart/2005/8/layout/hierarchy2"/>
    <dgm:cxn modelId="{556FD990-7AF4-454C-9976-3FAA1853236A}" type="presParOf" srcId="{6FAE81C0-1D60-470A-B84A-7706AD390F5C}" destId="{4E210524-63B2-46BA-88BF-AC994F784DB7}" srcOrd="0" destOrd="0" presId="urn:microsoft.com/office/officeart/2005/8/layout/hierarchy2"/>
    <dgm:cxn modelId="{8744896B-2413-4C75-914D-A50C4360603E}" type="presParOf" srcId="{4E210524-63B2-46BA-88BF-AC994F784DB7}" destId="{B066DAD5-171B-474A-8330-56773FC85091}" srcOrd="0" destOrd="0" presId="urn:microsoft.com/office/officeart/2005/8/layout/hierarchy2"/>
    <dgm:cxn modelId="{2CC63A54-640B-4624-9AAE-540219CA5A37}" type="presParOf" srcId="{6FAE81C0-1D60-470A-B84A-7706AD390F5C}" destId="{E1BF7480-514D-4BBC-8C02-FF501EC72357}" srcOrd="1" destOrd="0" presId="urn:microsoft.com/office/officeart/2005/8/layout/hierarchy2"/>
    <dgm:cxn modelId="{E89E9ABA-5B54-43D1-809F-66EC3388542C}" type="presParOf" srcId="{E1BF7480-514D-4BBC-8C02-FF501EC72357}" destId="{4B83A63A-0E02-44BF-83A2-84E9F47A9FCB}" srcOrd="0" destOrd="0" presId="urn:microsoft.com/office/officeart/2005/8/layout/hierarchy2"/>
    <dgm:cxn modelId="{30B84D4C-DCCB-4942-9F0A-D9AEBA167B7D}" type="presParOf" srcId="{E1BF7480-514D-4BBC-8C02-FF501EC72357}" destId="{53C778AB-D513-43E8-9094-A37BE14A6502}" srcOrd="1" destOrd="0" presId="urn:microsoft.com/office/officeart/2005/8/layout/hierarchy2"/>
    <dgm:cxn modelId="{2A3BE97C-9CE4-440A-9019-F7399AEB6B5B}" type="presParOf" srcId="{53C778AB-D513-43E8-9094-A37BE14A6502}" destId="{48694CCC-1391-4EF4-9C30-31C1DA88B29F}" srcOrd="0" destOrd="0" presId="urn:microsoft.com/office/officeart/2005/8/layout/hierarchy2"/>
    <dgm:cxn modelId="{2B8C4C51-2B21-44FF-B760-808C8A10894D}" type="presParOf" srcId="{48694CCC-1391-4EF4-9C30-31C1DA88B29F}" destId="{BD0E8D62-2122-412C-9AD0-032836C7C172}" srcOrd="0" destOrd="0" presId="urn:microsoft.com/office/officeart/2005/8/layout/hierarchy2"/>
    <dgm:cxn modelId="{20F2B93B-C787-4E1D-B5B7-62A36ED6CB0A}" type="presParOf" srcId="{53C778AB-D513-43E8-9094-A37BE14A6502}" destId="{7C8C81E5-B911-4543-ADBE-CB66F38CB0E2}" srcOrd="1" destOrd="0" presId="urn:microsoft.com/office/officeart/2005/8/layout/hierarchy2"/>
    <dgm:cxn modelId="{EEF4142D-D5D4-434F-8346-C4012C30C4D8}" type="presParOf" srcId="{7C8C81E5-B911-4543-ADBE-CB66F38CB0E2}" destId="{2AB8D2D3-677E-4694-8286-F696A483FF85}" srcOrd="0" destOrd="0" presId="urn:microsoft.com/office/officeart/2005/8/layout/hierarchy2"/>
    <dgm:cxn modelId="{B9EBAAA1-5EAA-4813-9FC0-EE7E374DC7B5}" type="presParOf" srcId="{7C8C81E5-B911-4543-ADBE-CB66F38CB0E2}" destId="{CD511D84-6B4F-46CC-9B36-2469AE1B882D}" srcOrd="1" destOrd="0" presId="urn:microsoft.com/office/officeart/2005/8/layout/hierarchy2"/>
    <dgm:cxn modelId="{122EFC9E-AB1A-4A3A-9072-4C782F61FEF8}" type="presParOf" srcId="{53C778AB-D513-43E8-9094-A37BE14A6502}" destId="{27E3EA24-5491-4C95-B15E-8D978E94B454}" srcOrd="2" destOrd="0" presId="urn:microsoft.com/office/officeart/2005/8/layout/hierarchy2"/>
    <dgm:cxn modelId="{36513A3A-A626-49A1-9197-84F424DCCFBE}" type="presParOf" srcId="{27E3EA24-5491-4C95-B15E-8D978E94B454}" destId="{F81488A8-249A-4C58-A816-17F7FF68234C}" srcOrd="0" destOrd="0" presId="urn:microsoft.com/office/officeart/2005/8/layout/hierarchy2"/>
    <dgm:cxn modelId="{6CA85583-B117-4EBE-A4A9-8C96460B5971}" type="presParOf" srcId="{53C778AB-D513-43E8-9094-A37BE14A6502}" destId="{DAE8AA25-8834-4417-9FA7-7A01F7EADCD6}" srcOrd="3" destOrd="0" presId="urn:microsoft.com/office/officeart/2005/8/layout/hierarchy2"/>
    <dgm:cxn modelId="{628232C6-21B0-4DC9-B044-4B9EFA76BB49}" type="presParOf" srcId="{DAE8AA25-8834-4417-9FA7-7A01F7EADCD6}" destId="{178EC08F-62C3-4A9B-846C-4004F31D9990}" srcOrd="0" destOrd="0" presId="urn:microsoft.com/office/officeart/2005/8/layout/hierarchy2"/>
    <dgm:cxn modelId="{6D159BC2-0ABD-46D6-8ABA-3A6CE28DC998}" type="presParOf" srcId="{DAE8AA25-8834-4417-9FA7-7A01F7EADCD6}" destId="{E00A53F2-FA40-4EAA-8529-202F2184AA0B}" srcOrd="1" destOrd="0" presId="urn:microsoft.com/office/officeart/2005/8/layout/hierarchy2"/>
    <dgm:cxn modelId="{2D04D701-903D-4C72-90BF-441F0A58BC98}" type="presParOf" srcId="{6FAE81C0-1D60-470A-B84A-7706AD390F5C}" destId="{57389D64-B410-41EA-9260-CE8B946EA0F2}" srcOrd="2" destOrd="0" presId="urn:microsoft.com/office/officeart/2005/8/layout/hierarchy2"/>
    <dgm:cxn modelId="{9B6731A7-F117-406F-8CBE-AD990E979B20}" type="presParOf" srcId="{57389D64-B410-41EA-9260-CE8B946EA0F2}" destId="{0D4F9AB2-F625-4395-B9AB-D2CF7AFF796D}" srcOrd="0" destOrd="0" presId="urn:microsoft.com/office/officeart/2005/8/layout/hierarchy2"/>
    <dgm:cxn modelId="{1B2C06BD-4F76-4C43-A364-8B5E08840098}" type="presParOf" srcId="{6FAE81C0-1D60-470A-B84A-7706AD390F5C}" destId="{FBFFF884-A697-425E-9FAC-5D374CEF1345}" srcOrd="3" destOrd="0" presId="urn:microsoft.com/office/officeart/2005/8/layout/hierarchy2"/>
    <dgm:cxn modelId="{0D2D9DC7-6D9B-4565-AE2E-507EEA143941}" type="presParOf" srcId="{FBFFF884-A697-425E-9FAC-5D374CEF1345}" destId="{CDFF1039-143D-446D-B7BC-5E69F9DA949F}" srcOrd="0" destOrd="0" presId="urn:microsoft.com/office/officeart/2005/8/layout/hierarchy2"/>
    <dgm:cxn modelId="{C640AEE6-FB05-4CE2-8335-E07219D81FEB}" type="presParOf" srcId="{FBFFF884-A697-425E-9FAC-5D374CEF1345}" destId="{8E044F9F-9744-42DE-B4DD-2D6100F75D4E}" srcOrd="1" destOrd="0" presId="urn:microsoft.com/office/officeart/2005/8/layout/hierarchy2"/>
    <dgm:cxn modelId="{D0142675-F0BE-480D-A3BA-9559A02B10A7}" type="presParOf" srcId="{8E044F9F-9744-42DE-B4DD-2D6100F75D4E}" destId="{3DA6CF82-27AE-47F7-A190-D0E2EE674A4B}" srcOrd="0" destOrd="0" presId="urn:microsoft.com/office/officeart/2005/8/layout/hierarchy2"/>
    <dgm:cxn modelId="{EC6CF360-9CD3-4F9B-9F64-28FE5EAACDE5}" type="presParOf" srcId="{3DA6CF82-27AE-47F7-A190-D0E2EE674A4B}" destId="{FCF206FC-FFAC-4171-8617-45680857EA58}" srcOrd="0" destOrd="0" presId="urn:microsoft.com/office/officeart/2005/8/layout/hierarchy2"/>
    <dgm:cxn modelId="{84E6FEA5-15A2-4312-A746-913B7EF0414F}" type="presParOf" srcId="{8E044F9F-9744-42DE-B4DD-2D6100F75D4E}" destId="{F2ACF549-3011-4E4E-9100-E390EF9D4BB1}" srcOrd="1" destOrd="0" presId="urn:microsoft.com/office/officeart/2005/8/layout/hierarchy2"/>
    <dgm:cxn modelId="{BF703363-12E2-4230-B65E-12924382C200}" type="presParOf" srcId="{F2ACF549-3011-4E4E-9100-E390EF9D4BB1}" destId="{ED277023-C623-43E2-861F-874ECECE1A17}" srcOrd="0" destOrd="0" presId="urn:microsoft.com/office/officeart/2005/8/layout/hierarchy2"/>
    <dgm:cxn modelId="{1F225457-1A15-43BD-A355-DAA465847A1F}" type="presParOf" srcId="{F2ACF549-3011-4E4E-9100-E390EF9D4BB1}" destId="{6AC01DDD-5CFE-495B-9574-FEDDF84E2778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9F26713-7102-4DBA-975A-66261E72AAEA}">
      <dsp:nvSpPr>
        <dsp:cNvPr id="0" name=""/>
        <dsp:cNvSpPr/>
      </dsp:nvSpPr>
      <dsp:spPr>
        <a:xfrm>
          <a:off x="0" y="1831873"/>
          <a:ext cx="1056469" cy="528234"/>
        </a:xfrm>
        <a:prstGeom prst="roundRect">
          <a:avLst>
            <a:gd name="adj" fmla="val 10000"/>
          </a:avLst>
        </a:prstGeom>
        <a:solidFill>
          <a:srgbClr val="E7E6E6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Norge</a:t>
          </a:r>
        </a:p>
      </dsp:txBody>
      <dsp:txXfrm>
        <a:off x="15471" y="1847344"/>
        <a:ext cx="1025527" cy="497292"/>
      </dsp:txXfrm>
    </dsp:sp>
    <dsp:sp modelId="{18AAF45A-A872-4892-BC2E-4A48F7461E51}">
      <dsp:nvSpPr>
        <dsp:cNvPr id="0" name=""/>
        <dsp:cNvSpPr/>
      </dsp:nvSpPr>
      <dsp:spPr>
        <a:xfrm rot="18113264">
          <a:off x="865797" y="1740057"/>
          <a:ext cx="808373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808373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6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249774" y="1732592"/>
        <a:ext cx="40418" cy="40418"/>
      </dsp:txXfrm>
    </dsp:sp>
    <dsp:sp modelId="{D9079FC4-084B-417F-9031-4C416C90D2F1}">
      <dsp:nvSpPr>
        <dsp:cNvPr id="0" name=""/>
        <dsp:cNvSpPr/>
      </dsp:nvSpPr>
      <dsp:spPr>
        <a:xfrm>
          <a:off x="1483498" y="1145495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498969" y="1160966"/>
        <a:ext cx="1025527" cy="497292"/>
      </dsp:txXfrm>
    </dsp:sp>
    <dsp:sp modelId="{A49805BE-C9B6-4B1D-844D-DAF0B1AD8566}">
      <dsp:nvSpPr>
        <dsp:cNvPr id="0" name=""/>
        <dsp:cNvSpPr/>
      </dsp:nvSpPr>
      <dsp:spPr>
        <a:xfrm rot="18770822">
          <a:off x="2440555" y="1169067"/>
          <a:ext cx="621413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621413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735726" y="1166276"/>
        <a:ext cx="31070" cy="31070"/>
      </dsp:txXfrm>
    </dsp:sp>
    <dsp:sp modelId="{8969B42D-6BC3-4B8A-936A-5F8A3F47BE5B}">
      <dsp:nvSpPr>
        <dsp:cNvPr id="0" name=""/>
        <dsp:cNvSpPr/>
      </dsp:nvSpPr>
      <dsp:spPr>
        <a:xfrm>
          <a:off x="2962556" y="689892"/>
          <a:ext cx="1056469" cy="528234"/>
        </a:xfrm>
        <a:prstGeom prst="roundRect">
          <a:avLst>
            <a:gd name="adj" fmla="val 10000"/>
          </a:avLst>
        </a:prstGeom>
        <a:solidFill>
          <a:srgbClr val="E6ECFF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705363"/>
        <a:ext cx="1025527" cy="497292"/>
      </dsp:txXfrm>
    </dsp:sp>
    <dsp:sp modelId="{3BECF918-4C3C-43E0-BF8A-E565DB2BF452}">
      <dsp:nvSpPr>
        <dsp:cNvPr id="0" name=""/>
        <dsp:cNvSpPr/>
      </dsp:nvSpPr>
      <dsp:spPr>
        <a:xfrm rot="19457599">
          <a:off x="3970110" y="789398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4217309" y="789132"/>
        <a:ext cx="26020" cy="26020"/>
      </dsp:txXfrm>
    </dsp:sp>
    <dsp:sp modelId="{FE716DB4-7587-49B7-809D-5F1386BB1CD6}">
      <dsp:nvSpPr>
        <dsp:cNvPr id="0" name=""/>
        <dsp:cNvSpPr/>
      </dsp:nvSpPr>
      <dsp:spPr>
        <a:xfrm>
          <a:off x="4441613" y="386157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MVA</a:t>
          </a:r>
        </a:p>
      </dsp:txBody>
      <dsp:txXfrm>
        <a:off x="4457084" y="401628"/>
        <a:ext cx="1025527" cy="497292"/>
      </dsp:txXfrm>
    </dsp:sp>
    <dsp:sp modelId="{3B9B0C84-CA2A-4B43-8B9F-23E48F48F101}">
      <dsp:nvSpPr>
        <dsp:cNvPr id="0" name=""/>
        <dsp:cNvSpPr/>
      </dsp:nvSpPr>
      <dsp:spPr>
        <a:xfrm>
          <a:off x="5498083" y="63753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5698812" y="639710"/>
        <a:ext cx="21129" cy="21129"/>
      </dsp:txXfrm>
    </dsp:sp>
    <dsp:sp modelId="{1EDE3657-9361-45D4-8779-221B86CB8224}">
      <dsp:nvSpPr>
        <dsp:cNvPr id="0" name=""/>
        <dsp:cNvSpPr/>
      </dsp:nvSpPr>
      <dsp:spPr>
        <a:xfrm>
          <a:off x="5920671" y="386157"/>
          <a:ext cx="1056469" cy="528234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1 =25 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2 =15 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X3 =12 %</a:t>
          </a:r>
        </a:p>
      </dsp:txBody>
      <dsp:txXfrm>
        <a:off x="5936142" y="401628"/>
        <a:ext cx="1025527" cy="497292"/>
      </dsp:txXfrm>
    </dsp:sp>
    <dsp:sp modelId="{2B6D0068-6FE3-4E8F-9B82-B843E2583135}">
      <dsp:nvSpPr>
        <dsp:cNvPr id="0" name=""/>
        <dsp:cNvSpPr/>
      </dsp:nvSpPr>
      <dsp:spPr>
        <a:xfrm rot="2142401">
          <a:off x="3970110" y="1093133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7309" y="1092867"/>
        <a:ext cx="26020" cy="26020"/>
      </dsp:txXfrm>
    </dsp:sp>
    <dsp:sp modelId="{DE53E6FF-8053-4340-BBC3-BBFB0CB950E3}">
      <dsp:nvSpPr>
        <dsp:cNvPr id="0" name=""/>
        <dsp:cNvSpPr/>
      </dsp:nvSpPr>
      <dsp:spPr>
        <a:xfrm>
          <a:off x="4441613" y="993627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MVA</a:t>
          </a:r>
        </a:p>
      </dsp:txBody>
      <dsp:txXfrm>
        <a:off x="4457084" y="1009098"/>
        <a:ext cx="1025527" cy="497292"/>
      </dsp:txXfrm>
    </dsp:sp>
    <dsp:sp modelId="{9722A232-C995-43BC-92E2-A31941DEDBDC}">
      <dsp:nvSpPr>
        <dsp:cNvPr id="0" name=""/>
        <dsp:cNvSpPr/>
      </dsp:nvSpPr>
      <dsp:spPr>
        <a:xfrm>
          <a:off x="5498083" y="124500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698812" y="1247180"/>
        <a:ext cx="21129" cy="21129"/>
      </dsp:txXfrm>
    </dsp:sp>
    <dsp:sp modelId="{90246D3B-7CFF-4286-B91D-370AB937192B}">
      <dsp:nvSpPr>
        <dsp:cNvPr id="0" name=""/>
        <dsp:cNvSpPr/>
      </dsp:nvSpPr>
      <dsp:spPr>
        <a:xfrm>
          <a:off x="5920671" y="993627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 =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g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avgift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5936142" y="1009098"/>
        <a:ext cx="1025527" cy="497292"/>
      </dsp:txXfrm>
    </dsp:sp>
    <dsp:sp modelId="{C048F627-A16E-441F-BE95-82699C43DB92}">
      <dsp:nvSpPr>
        <dsp:cNvPr id="0" name=""/>
        <dsp:cNvSpPr/>
      </dsp:nvSpPr>
      <dsp:spPr>
        <a:xfrm rot="2829178">
          <a:off x="2440555" y="1624670"/>
          <a:ext cx="621413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621413" y="12744"/>
              </a:lnTo>
            </a:path>
          </a:pathLst>
        </a:custGeom>
        <a:noFill/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</a:sysClr>
          </a:solidFill>
          <a:prstDash val="solid"/>
          <a:round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735726" y="1621878"/>
        <a:ext cx="31070" cy="31070"/>
      </dsp:txXfrm>
    </dsp:sp>
    <dsp:sp modelId="{DB0624BA-3CD6-4834-9F25-7EBE37F63C46}">
      <dsp:nvSpPr>
        <dsp:cNvPr id="0" name=""/>
        <dsp:cNvSpPr/>
      </dsp:nvSpPr>
      <dsp:spPr>
        <a:xfrm>
          <a:off x="2962556" y="1601098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1616569"/>
        <a:ext cx="1025527" cy="497292"/>
      </dsp:txXfrm>
    </dsp:sp>
    <dsp:sp modelId="{EDC0D4A2-0AA7-41E9-B99B-8C152250EC05}">
      <dsp:nvSpPr>
        <dsp:cNvPr id="0" name=""/>
        <dsp:cNvSpPr/>
      </dsp:nvSpPr>
      <dsp:spPr>
        <a:xfrm>
          <a:off x="4019025" y="185247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9755" y="1854650"/>
        <a:ext cx="21129" cy="21129"/>
      </dsp:txXfrm>
    </dsp:sp>
    <dsp:sp modelId="{76A8198E-A103-4ED6-8C85-2368D377D598}">
      <dsp:nvSpPr>
        <dsp:cNvPr id="0" name=""/>
        <dsp:cNvSpPr/>
      </dsp:nvSpPr>
      <dsp:spPr>
        <a:xfrm>
          <a:off x="4441613" y="1601098"/>
          <a:ext cx="1056469" cy="528234"/>
        </a:xfrm>
        <a:prstGeom prst="roundRect">
          <a:avLst>
            <a:gd name="adj" fmla="val 10000"/>
          </a:avLst>
        </a:prstGeom>
        <a:solidFill>
          <a:srgbClr val="86A4F7">
            <a:lumMod val="20000"/>
            <a:lumOff val="80000"/>
          </a:srgb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25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1 = 15%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2 = 12%</a:t>
          </a:r>
        </a:p>
      </dsp:txBody>
      <dsp:txXfrm>
        <a:off x="4457084" y="1616569"/>
        <a:ext cx="1025527" cy="497292"/>
      </dsp:txXfrm>
    </dsp:sp>
    <dsp:sp modelId="{6C9636C7-2499-4F2B-852A-AC08ABF57691}">
      <dsp:nvSpPr>
        <dsp:cNvPr id="0" name=""/>
        <dsp:cNvSpPr/>
      </dsp:nvSpPr>
      <dsp:spPr>
        <a:xfrm rot="3473290">
          <a:off x="868319" y="2423461"/>
          <a:ext cx="803329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803329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1249900" y="2416122"/>
        <a:ext cx="40166" cy="40166"/>
      </dsp:txXfrm>
    </dsp:sp>
    <dsp:sp modelId="{684602D2-1D85-4FF4-8913-BFFF9DD703E8}">
      <dsp:nvSpPr>
        <dsp:cNvPr id="0" name=""/>
        <dsp:cNvSpPr/>
      </dsp:nvSpPr>
      <dsp:spPr>
        <a:xfrm>
          <a:off x="1483498" y="2512303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innkjøpsordre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1498969" y="2527774"/>
        <a:ext cx="1025527" cy="497292"/>
      </dsp:txXfrm>
    </dsp:sp>
    <dsp:sp modelId="{9FE69F9C-51EE-4341-8F5F-9CC37E67BEE2}">
      <dsp:nvSpPr>
        <dsp:cNvPr id="0" name=""/>
        <dsp:cNvSpPr/>
      </dsp:nvSpPr>
      <dsp:spPr>
        <a:xfrm rot="19457599">
          <a:off x="2491052" y="2611808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738251" y="2611542"/>
        <a:ext cx="26020" cy="26020"/>
      </dsp:txXfrm>
    </dsp:sp>
    <dsp:sp modelId="{8454E545-8B1A-4930-A9A9-C602660A793D}">
      <dsp:nvSpPr>
        <dsp:cNvPr id="0" name=""/>
        <dsp:cNvSpPr/>
      </dsp:nvSpPr>
      <dsp:spPr>
        <a:xfrm>
          <a:off x="2962556" y="2208568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ten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2224039"/>
        <a:ext cx="1025527" cy="497292"/>
      </dsp:txXfrm>
    </dsp:sp>
    <dsp:sp modelId="{817C6FF2-65ED-4BA3-9B31-F6061CC281AD}">
      <dsp:nvSpPr>
        <dsp:cNvPr id="0" name=""/>
        <dsp:cNvSpPr/>
      </dsp:nvSpPr>
      <dsp:spPr>
        <a:xfrm>
          <a:off x="4019025" y="245994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9755" y="2462120"/>
        <a:ext cx="21129" cy="21129"/>
      </dsp:txXfrm>
    </dsp:sp>
    <dsp:sp modelId="{CF03E51F-14B7-49E6-83FE-176353D8ECA8}">
      <dsp:nvSpPr>
        <dsp:cNvPr id="0" name=""/>
        <dsp:cNvSpPr/>
      </dsp:nvSpPr>
      <dsp:spPr>
        <a:xfrm>
          <a:off x="4441613" y="2208568"/>
          <a:ext cx="1056469" cy="528234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00 =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uansett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sats</a:t>
          </a: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 (%)</a:t>
          </a:r>
        </a:p>
      </dsp:txBody>
      <dsp:txXfrm>
        <a:off x="4457084" y="2224039"/>
        <a:ext cx="1025527" cy="497292"/>
      </dsp:txXfrm>
    </dsp:sp>
    <dsp:sp modelId="{7C518A94-1528-4C35-B34E-3D2730B7BAA1}">
      <dsp:nvSpPr>
        <dsp:cNvPr id="0" name=""/>
        <dsp:cNvSpPr/>
      </dsp:nvSpPr>
      <dsp:spPr>
        <a:xfrm rot="2142401">
          <a:off x="2491052" y="2915544"/>
          <a:ext cx="520418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520418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2738251" y="2915277"/>
        <a:ext cx="26020" cy="26020"/>
      </dsp:txXfrm>
    </dsp:sp>
    <dsp:sp modelId="{727EE19F-11FB-4DA9-88EF-6AEFD77BCF4A}">
      <dsp:nvSpPr>
        <dsp:cNvPr id="0" name=""/>
        <dsp:cNvSpPr/>
      </dsp:nvSpPr>
      <dsp:spPr>
        <a:xfrm>
          <a:off x="2962556" y="2816038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Med </a:t>
          </a:r>
          <a:r>
            <a:rPr lang="en-US" sz="900" kern="1200" err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fradrag</a:t>
          </a:r>
          <a:endParaRPr lang="en-US" sz="9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/>
            <a:ea typeface="+mn-ea"/>
            <a:cs typeface="+mn-cs"/>
          </a:endParaRPr>
        </a:p>
      </dsp:txBody>
      <dsp:txXfrm>
        <a:off x="2978027" y="2831509"/>
        <a:ext cx="1025527" cy="497292"/>
      </dsp:txXfrm>
    </dsp:sp>
    <dsp:sp modelId="{1466BECD-2692-4786-AD54-872B3C8C30CC}">
      <dsp:nvSpPr>
        <dsp:cNvPr id="0" name=""/>
        <dsp:cNvSpPr/>
      </dsp:nvSpPr>
      <dsp:spPr>
        <a:xfrm>
          <a:off x="4019025" y="3067411"/>
          <a:ext cx="422587" cy="25488"/>
        </a:xfrm>
        <a:custGeom>
          <a:avLst/>
          <a:gdLst/>
          <a:ahLst/>
          <a:cxnLst/>
          <a:rect l="0" t="0" r="0" b="0"/>
          <a:pathLst>
            <a:path>
              <a:moveTo>
                <a:pt x="0" y="12744"/>
              </a:moveTo>
              <a:lnTo>
                <a:pt x="422587" y="12744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4219755" y="3069590"/>
        <a:ext cx="21129" cy="21129"/>
      </dsp:txXfrm>
    </dsp:sp>
    <dsp:sp modelId="{ABE652F6-97EC-42D9-8CD8-540BE506F0DE}">
      <dsp:nvSpPr>
        <dsp:cNvPr id="0" name=""/>
        <dsp:cNvSpPr/>
      </dsp:nvSpPr>
      <dsp:spPr>
        <a:xfrm>
          <a:off x="4441613" y="2816038"/>
          <a:ext cx="1056469" cy="528234"/>
        </a:xfrm>
        <a:prstGeom prst="roundRect">
          <a:avLst>
            <a:gd name="adj" fmla="val 10000"/>
          </a:avLst>
        </a:prstGeom>
        <a:solidFill>
          <a:schemeClr val="accent6">
            <a:lumMod val="20000"/>
            <a:lumOff val="80000"/>
          </a:schemeClr>
        </a:solidFill>
        <a:ln w="12700" cap="flat" cmpd="sng" algn="ctr">
          <a:solidFill>
            <a:sysClr val="windowText" lastClr="000000">
              <a:shade val="80000"/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 = 25%</a:t>
          </a:r>
          <a:b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M = 15%</a:t>
          </a:r>
          <a:b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</a:br>
          <a:r>
            <a:rPr lang="en-US" sz="9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"/>
              <a:ea typeface="+mn-ea"/>
              <a:cs typeface="+mn-cs"/>
            </a:rPr>
            <a:t>1N = 12%</a:t>
          </a:r>
        </a:p>
      </dsp:txBody>
      <dsp:txXfrm>
        <a:off x="4457084" y="2831509"/>
        <a:ext cx="1025527" cy="497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125BD50-D79D-4CC3-9755-0DA3E2D8E3FD}">
      <dsp:nvSpPr>
        <dsp:cNvPr id="0" name=""/>
        <dsp:cNvSpPr/>
      </dsp:nvSpPr>
      <dsp:spPr>
        <a:xfrm>
          <a:off x="1594688" y="1554106"/>
          <a:ext cx="988451" cy="494225"/>
        </a:xfrm>
        <a:prstGeom prst="roundRect">
          <a:avLst>
            <a:gd name="adj" fmla="val 10000"/>
          </a:avLst>
        </a:prstGeom>
        <a:solidFill>
          <a:schemeClr val="bg1">
            <a:lumMod val="85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landet</a:t>
          </a:r>
          <a:endParaRPr lang="en-US" sz="1100" kern="1200"/>
        </a:p>
      </dsp:txBody>
      <dsp:txXfrm>
        <a:off x="1609163" y="1568581"/>
        <a:ext cx="959501" cy="465275"/>
      </dsp:txXfrm>
    </dsp:sp>
    <dsp:sp modelId="{D93CA1E7-1E9E-40F3-BD60-501BD0921ADB}">
      <dsp:nvSpPr>
        <dsp:cNvPr id="0" name=""/>
        <dsp:cNvSpPr/>
      </dsp:nvSpPr>
      <dsp:spPr>
        <a:xfrm rot="17717070">
          <a:off x="2316586" y="1367197"/>
          <a:ext cx="930564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930564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8604" y="1357248"/>
        <a:ext cx="46528" cy="46528"/>
      </dsp:txXfrm>
    </dsp:sp>
    <dsp:sp modelId="{18E32922-F51C-40B9-BC52-EAC7F334A273}">
      <dsp:nvSpPr>
        <dsp:cNvPr id="0" name=""/>
        <dsp:cNvSpPr/>
      </dsp:nvSpPr>
      <dsp:spPr>
        <a:xfrm>
          <a:off x="2980596" y="71269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Vare</a:t>
          </a:r>
          <a:endParaRPr lang="en-US" sz="1100" kern="1200"/>
        </a:p>
      </dsp:txBody>
      <dsp:txXfrm>
        <a:off x="2995071" y="727167"/>
        <a:ext cx="959501" cy="465275"/>
      </dsp:txXfrm>
    </dsp:sp>
    <dsp:sp modelId="{25A113C8-8072-43F9-89D4-9ED32583A830}">
      <dsp:nvSpPr>
        <dsp:cNvPr id="0" name=""/>
        <dsp:cNvSpPr/>
      </dsp:nvSpPr>
      <dsp:spPr>
        <a:xfrm rot="18770822">
          <a:off x="3876036" y="733355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732135"/>
        <a:ext cx="29070" cy="29070"/>
      </dsp:txXfrm>
    </dsp:sp>
    <dsp:sp modelId="{03F1BF70-1109-4C0A-A4E7-965962B6CD26}">
      <dsp:nvSpPr>
        <dsp:cNvPr id="0" name=""/>
        <dsp:cNvSpPr/>
      </dsp:nvSpPr>
      <dsp:spPr>
        <a:xfrm>
          <a:off x="4364429" y="28642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en</a:t>
          </a:r>
          <a:r>
            <a:rPr lang="en-US" sz="1100" kern="1200"/>
            <a:t>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300897"/>
        <a:ext cx="959501" cy="465275"/>
      </dsp:txXfrm>
    </dsp:sp>
    <dsp:sp modelId="{3A41823B-86F3-406F-A054-374247C2ECAB}">
      <dsp:nvSpPr>
        <dsp:cNvPr id="0" name=""/>
        <dsp:cNvSpPr/>
      </dsp:nvSpPr>
      <dsp:spPr>
        <a:xfrm rot="19457599">
          <a:off x="5307114" y="378130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8398" y="379272"/>
        <a:ext cx="24345" cy="24345"/>
      </dsp:txXfrm>
    </dsp:sp>
    <dsp:sp modelId="{79A8959C-0267-4FB7-8B78-A9B4D9B32B12}">
      <dsp:nvSpPr>
        <dsp:cNvPr id="0" name=""/>
        <dsp:cNvSpPr/>
      </dsp:nvSpPr>
      <dsp:spPr>
        <a:xfrm>
          <a:off x="5748261" y="2242"/>
          <a:ext cx="988451" cy="494225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0 = 25%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7 = 15%</a:t>
          </a:r>
        </a:p>
      </dsp:txBody>
      <dsp:txXfrm>
        <a:off x="5762736" y="16717"/>
        <a:ext cx="959501" cy="465275"/>
      </dsp:txXfrm>
    </dsp:sp>
    <dsp:sp modelId="{547094B5-6C7F-4543-AC5F-6BB8797E1833}">
      <dsp:nvSpPr>
        <dsp:cNvPr id="0" name=""/>
        <dsp:cNvSpPr/>
      </dsp:nvSpPr>
      <dsp:spPr>
        <a:xfrm rot="2142401">
          <a:off x="5307114" y="662310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538398" y="663452"/>
        <a:ext cx="24345" cy="24345"/>
      </dsp:txXfrm>
    </dsp:sp>
    <dsp:sp modelId="{B850CD55-517E-4C23-963D-66006E75A232}">
      <dsp:nvSpPr>
        <dsp:cNvPr id="0" name=""/>
        <dsp:cNvSpPr/>
      </dsp:nvSpPr>
      <dsp:spPr>
        <a:xfrm>
          <a:off x="5748261" y="57060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0 = 0%</a:t>
          </a:r>
        </a:p>
      </dsp:txBody>
      <dsp:txXfrm>
        <a:off x="5762736" y="585077"/>
        <a:ext cx="959501" cy="465275"/>
      </dsp:txXfrm>
    </dsp:sp>
    <dsp:sp modelId="{E0A73A1B-2B97-45BA-8A57-D9AA1DC86B87}">
      <dsp:nvSpPr>
        <dsp:cNvPr id="0" name=""/>
        <dsp:cNvSpPr/>
      </dsp:nvSpPr>
      <dsp:spPr>
        <a:xfrm rot="2829178">
          <a:off x="3876036" y="1159624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1158405"/>
        <a:ext cx="29070" cy="29070"/>
      </dsp:txXfrm>
    </dsp:sp>
    <dsp:sp modelId="{FB5F17FA-01F3-4DCE-AFEF-3373A9A37BF6}">
      <dsp:nvSpPr>
        <dsp:cNvPr id="0" name=""/>
        <dsp:cNvSpPr/>
      </dsp:nvSpPr>
      <dsp:spPr>
        <a:xfrm>
          <a:off x="4364429" y="113896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Med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1153437"/>
        <a:ext cx="959501" cy="465275"/>
      </dsp:txXfrm>
    </dsp:sp>
    <dsp:sp modelId="{40279CE7-C3F4-4DF6-A02A-837932E68076}">
      <dsp:nvSpPr>
        <dsp:cNvPr id="0" name=""/>
        <dsp:cNvSpPr/>
      </dsp:nvSpPr>
      <dsp:spPr>
        <a:xfrm>
          <a:off x="5352881" y="1372759"/>
          <a:ext cx="39538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39538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40686" y="1376190"/>
        <a:ext cx="19769" cy="19769"/>
      </dsp:txXfrm>
    </dsp:sp>
    <dsp:sp modelId="{35148660-7C1E-4AB3-94A2-9D39BDC2272C}">
      <dsp:nvSpPr>
        <dsp:cNvPr id="0" name=""/>
        <dsp:cNvSpPr/>
      </dsp:nvSpPr>
      <dsp:spPr>
        <a:xfrm>
          <a:off x="5748261" y="1138962"/>
          <a:ext cx="988451" cy="494225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21 = 25%</a:t>
          </a:r>
          <a:br>
            <a:rPr lang="en-US" sz="1100" kern="1200"/>
          </a:br>
          <a:r>
            <a:rPr lang="en-US" sz="1100" kern="1200"/>
            <a:t>22 = 15%</a:t>
          </a:r>
          <a:br>
            <a:rPr lang="en-US" sz="1100" kern="1200"/>
          </a:br>
          <a:r>
            <a:rPr lang="en-US" sz="1100" kern="1200"/>
            <a:t>23 =  0% </a:t>
          </a:r>
        </a:p>
      </dsp:txBody>
      <dsp:txXfrm>
        <a:off x="5762736" y="1153437"/>
        <a:ext cx="959501" cy="465275"/>
      </dsp:txXfrm>
    </dsp:sp>
    <dsp:sp modelId="{06917447-A603-4E65-9FC2-D499E1F092C8}">
      <dsp:nvSpPr>
        <dsp:cNvPr id="0" name=""/>
        <dsp:cNvSpPr/>
      </dsp:nvSpPr>
      <dsp:spPr>
        <a:xfrm rot="3917293">
          <a:off x="2306503" y="2219736"/>
          <a:ext cx="95073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95073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758100" y="2209283"/>
        <a:ext cx="47536" cy="47536"/>
      </dsp:txXfrm>
    </dsp:sp>
    <dsp:sp modelId="{12149BDC-7429-4A3D-9F11-5B0D56CBA094}">
      <dsp:nvSpPr>
        <dsp:cNvPr id="0" name=""/>
        <dsp:cNvSpPr/>
      </dsp:nvSpPr>
      <dsp:spPr>
        <a:xfrm>
          <a:off x="2980596" y="241777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Tjeneste</a:t>
          </a:r>
          <a:endParaRPr lang="en-US" sz="1100" kern="1200"/>
        </a:p>
      </dsp:txBody>
      <dsp:txXfrm>
        <a:off x="2995071" y="2432246"/>
        <a:ext cx="959501" cy="465275"/>
      </dsp:txXfrm>
    </dsp:sp>
    <dsp:sp modelId="{4E210524-63B2-46BA-88BF-AC994F784DB7}">
      <dsp:nvSpPr>
        <dsp:cNvPr id="0" name=""/>
        <dsp:cNvSpPr/>
      </dsp:nvSpPr>
      <dsp:spPr>
        <a:xfrm rot="18770822">
          <a:off x="3876036" y="2438434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2437214"/>
        <a:ext cx="29070" cy="29070"/>
      </dsp:txXfrm>
    </dsp:sp>
    <dsp:sp modelId="{4B83A63A-0E02-44BF-83A2-84E9F47A9FCB}">
      <dsp:nvSpPr>
        <dsp:cNvPr id="0" name=""/>
        <dsp:cNvSpPr/>
      </dsp:nvSpPr>
      <dsp:spPr>
        <a:xfrm>
          <a:off x="4364429" y="199150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 err="1"/>
            <a:t>Uten</a:t>
          </a:r>
          <a:r>
            <a:rPr lang="en-US" sz="1100" kern="1200"/>
            <a:t>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2005976"/>
        <a:ext cx="959501" cy="465275"/>
      </dsp:txXfrm>
    </dsp:sp>
    <dsp:sp modelId="{48694CCC-1391-4EF4-9C30-31C1DA88B29F}">
      <dsp:nvSpPr>
        <dsp:cNvPr id="0" name=""/>
        <dsp:cNvSpPr/>
      </dsp:nvSpPr>
      <dsp:spPr>
        <a:xfrm rot="19457599">
          <a:off x="5307114" y="2083209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38398" y="2084351"/>
        <a:ext cx="24345" cy="24345"/>
      </dsp:txXfrm>
    </dsp:sp>
    <dsp:sp modelId="{2AB8D2D3-677E-4694-8286-F696A483FF85}">
      <dsp:nvSpPr>
        <dsp:cNvPr id="0" name=""/>
        <dsp:cNvSpPr/>
      </dsp:nvSpPr>
      <dsp:spPr>
        <a:xfrm>
          <a:off x="5748261" y="1707321"/>
          <a:ext cx="988451" cy="494225"/>
        </a:xfrm>
        <a:prstGeom prst="roundRect">
          <a:avLst>
            <a:gd name="adj" fmla="val 10000"/>
          </a:avLst>
        </a:prstGeom>
        <a:solidFill>
          <a:srgbClr val="92D050"/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3T = 25%</a:t>
          </a:r>
        </a:p>
      </dsp:txBody>
      <dsp:txXfrm>
        <a:off x="5762736" y="1721796"/>
        <a:ext cx="959501" cy="465275"/>
      </dsp:txXfrm>
    </dsp:sp>
    <dsp:sp modelId="{27E3EA24-5491-4C95-B15E-8D978E94B454}">
      <dsp:nvSpPr>
        <dsp:cNvPr id="0" name=""/>
        <dsp:cNvSpPr/>
      </dsp:nvSpPr>
      <dsp:spPr>
        <a:xfrm rot="2142401">
          <a:off x="5307114" y="2367389"/>
          <a:ext cx="486912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486912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500" kern="1200"/>
        </a:p>
      </dsp:txBody>
      <dsp:txXfrm>
        <a:off x="5538398" y="2368531"/>
        <a:ext cx="24345" cy="24345"/>
      </dsp:txXfrm>
    </dsp:sp>
    <dsp:sp modelId="{178EC08F-62C3-4A9B-846C-4004F31D9990}">
      <dsp:nvSpPr>
        <dsp:cNvPr id="0" name=""/>
        <dsp:cNvSpPr/>
      </dsp:nvSpPr>
      <dsp:spPr>
        <a:xfrm>
          <a:off x="5748261" y="2275681"/>
          <a:ext cx="988451" cy="494225"/>
        </a:xfrm>
        <a:prstGeom prst="roundRect">
          <a:avLst>
            <a:gd name="adj" fmla="val 10000"/>
          </a:avLst>
        </a:prstGeom>
        <a:solidFill>
          <a:srgbClr val="B6C8E9">
            <a:lumMod val="20000"/>
            <a:lumOff val="80000"/>
          </a:srgb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Arial" panose="020B0604020202020204"/>
              <a:ea typeface="+mn-ea"/>
              <a:cs typeface="+mn-cs"/>
            </a:rPr>
            <a:t>0 = 0%</a:t>
          </a:r>
        </a:p>
      </dsp:txBody>
      <dsp:txXfrm>
        <a:off x="5762736" y="2290156"/>
        <a:ext cx="959501" cy="465275"/>
      </dsp:txXfrm>
    </dsp:sp>
    <dsp:sp modelId="{57389D64-B410-41EA-9260-CE8B946EA0F2}">
      <dsp:nvSpPr>
        <dsp:cNvPr id="0" name=""/>
        <dsp:cNvSpPr/>
      </dsp:nvSpPr>
      <dsp:spPr>
        <a:xfrm rot="2829178">
          <a:off x="3876036" y="2864703"/>
          <a:ext cx="581405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581405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52203" y="2863484"/>
        <a:ext cx="29070" cy="29070"/>
      </dsp:txXfrm>
    </dsp:sp>
    <dsp:sp modelId="{CDFF1039-143D-446D-B7BC-5E69F9DA949F}">
      <dsp:nvSpPr>
        <dsp:cNvPr id="0" name=""/>
        <dsp:cNvSpPr/>
      </dsp:nvSpPr>
      <dsp:spPr>
        <a:xfrm>
          <a:off x="4364429" y="284404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Med </a:t>
          </a:r>
          <a:r>
            <a:rPr lang="en-US" sz="1100" kern="1200" err="1"/>
            <a:t>fradrag</a:t>
          </a:r>
          <a:endParaRPr lang="en-US" sz="1100" kern="1200"/>
        </a:p>
      </dsp:txBody>
      <dsp:txXfrm>
        <a:off x="4378904" y="2858516"/>
        <a:ext cx="959501" cy="465275"/>
      </dsp:txXfrm>
    </dsp:sp>
    <dsp:sp modelId="{3DA6CF82-27AE-47F7-A190-D0E2EE674A4B}">
      <dsp:nvSpPr>
        <dsp:cNvPr id="0" name=""/>
        <dsp:cNvSpPr/>
      </dsp:nvSpPr>
      <dsp:spPr>
        <a:xfrm>
          <a:off x="5352881" y="3077838"/>
          <a:ext cx="395380" cy="26630"/>
        </a:xfrm>
        <a:custGeom>
          <a:avLst/>
          <a:gdLst/>
          <a:ahLst/>
          <a:cxnLst/>
          <a:rect l="0" t="0" r="0" b="0"/>
          <a:pathLst>
            <a:path>
              <a:moveTo>
                <a:pt x="0" y="13315"/>
              </a:moveTo>
              <a:lnTo>
                <a:pt x="395380" y="13315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540686" y="3081269"/>
        <a:ext cx="19769" cy="19769"/>
      </dsp:txXfrm>
    </dsp:sp>
    <dsp:sp modelId="{ED277023-C623-43E2-861F-874ECECE1A17}">
      <dsp:nvSpPr>
        <dsp:cNvPr id="0" name=""/>
        <dsp:cNvSpPr/>
      </dsp:nvSpPr>
      <dsp:spPr>
        <a:xfrm>
          <a:off x="5748261" y="2844041"/>
          <a:ext cx="988451" cy="494225"/>
        </a:xfrm>
        <a:prstGeom prst="roundRect">
          <a:avLst>
            <a:gd name="adj" fmla="val 10000"/>
          </a:avLst>
        </a:prstGeom>
        <a:solidFill>
          <a:schemeClr val="accent1">
            <a:lumMod val="20000"/>
            <a:lumOff val="80000"/>
          </a:schemeClr>
        </a:solidFill>
        <a:ln w="12700" cap="flat" cmpd="sng" algn="ctr">
          <a:solidFill>
            <a:scrgbClr r="0" g="0" b="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kern="1200"/>
            <a:t>3F = 25%</a:t>
          </a:r>
        </a:p>
      </dsp:txBody>
      <dsp:txXfrm>
        <a:off x="5762736" y="2858516"/>
        <a:ext cx="959501" cy="4652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DF8443-3C72-40AB-B7EA-888C701B667F}" type="datetimeFigureOut">
              <a:rPr lang="nb-NO" smtClean="0"/>
              <a:t>24.04.2024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E073E2-DE77-4445-980F-3DE415846DB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60785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BDE4-4BE4-41B4-B77F-129AAF298C37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463761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BDE4-4BE4-41B4-B77F-129AAF298C37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012590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BDE4-4BE4-41B4-B77F-129AAF298C37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451249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21641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06470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84070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4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095504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4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41129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5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3800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E073E2-DE77-4445-980F-3DE415846DB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9042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50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500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E073E2-DE77-4445-980F-3DE415846DB5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6225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nb-NO" dirty="0">
              <a:ea typeface="Calibri"/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6F526-5F83-4071-AA89-73E675B18C10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7097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BDE4-4BE4-41B4-B77F-129AAF298C37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58773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C8EBDE4-4BE4-41B4-B77F-129AAF298C37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8751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11CE02-016B-4607-B79A-B59DDB6195E9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4902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6793913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58742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23334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96694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2"/>
            <a:ext cx="7772400" cy="64633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003571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842151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76726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5661438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7081107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409308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379217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6"/>
            <a:ext cx="8418747" cy="3613774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47759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452358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25932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48518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7394139" y="205980"/>
            <a:ext cx="1292662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29628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488701"/>
            <a:ext cx="8371762" cy="5679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35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238125"/>
            <a:ext cx="8371762" cy="5238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275160"/>
            <a:ext cx="8374062" cy="350924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961645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323439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8241294" y="4815936"/>
            <a:ext cx="426966" cy="273844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067254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22699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80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20" y="1444343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6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6" y="1444343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9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3957666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10373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84857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2" y="368439"/>
            <a:ext cx="3008313" cy="707886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2" y="1076327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64853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25395"/>
            <a:ext cx="5486400" cy="40011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222486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397447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92321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833570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92" imgH="591" progId="TCLayout.ActiveDocument.1">
                  <p:embed/>
                </p:oleObj>
              </mc:Choice>
              <mc:Fallback>
                <p:oleObj name="think-cell Slide" r:id="rId1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3849" y="205980"/>
            <a:ext cx="8458815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23849" y="936523"/>
            <a:ext cx="8458815" cy="36581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423181" y="4800919"/>
            <a:ext cx="2520045" cy="20480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000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000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0748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457189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12" Type="http://schemas.openxmlformats.org/officeDocument/2006/relationships/image" Target="../media/image9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sv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i.ntnu.no/wiki/-/wiki/Norsk/St%C3%B8tte+til+fagbrukere+-+Anskaffelse+av+anleggsmidler+i+Btb-prosessen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7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Anleggsmidler+-+aktivering+til+avhending" TargetMode="External"/><Relationship Id="rId3" Type="http://schemas.openxmlformats.org/officeDocument/2006/relationships/hyperlink" Target="https://www.bott-samarbeidet.no/okonomi/opplering/index.html" TargetMode="External"/><Relationship Id="rId7" Type="http://schemas.openxmlformats.org/officeDocument/2006/relationships/hyperlink" Target="https://i.ntnu.no/wiki/-/wiki/Norsk/MVA-koder+-+oversikt+med+forklaringer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s://teams.microsoft.com/l/team/19%3af3xG0pSmwqkRwOmHfNI4XHlJq6Cmqjtw9emtF1TDm0M1%40thread.tacv2/conversations?groupId=ce25b78d-30df-4ad4-943b-eb4d11c39163&amp;tenantId=09a10672-822f-4467-a5ba-5bb375967c05" TargetMode="External"/><Relationship Id="rId5" Type="http://schemas.openxmlformats.org/officeDocument/2006/relationships/hyperlink" Target="https://innsida.ntnu.no/start#/feed/6fffed3b-35da-3664-ad29-5e6fcc4ffb98" TargetMode="External"/><Relationship Id="rId10" Type="http://schemas.openxmlformats.org/officeDocument/2006/relationships/image" Target="../media/image49.svg"/><Relationship Id="rId4" Type="http://schemas.openxmlformats.org/officeDocument/2006/relationships/hyperlink" Target="https://i.ntnu.no/wiki/-/wiki/Norsk/Bott+%C3%B8konomi+og+l%C3%B8nn+-+Oppl%C3%A6ring" TargetMode="External"/><Relationship Id="rId9" Type="http://schemas.openxmlformats.org/officeDocument/2006/relationships/image" Target="../media/image48.pn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8.xm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1.png"/><Relationship Id="rId3" Type="http://schemas.openxmlformats.org/officeDocument/2006/relationships/hyperlink" Target="https://i.ntnu.no/wiki/-/wiki/Norsk/Prosessr%C3%A5dgivere+-+%C3%B8konomi+og+l%C3%B8nn#section-Prosessr%C3%A5dgivere+-+%C3%B8konomi+og+l%C3%B8nn-Behov+til+betaling+(Btb)" TargetMode="External"/><Relationship Id="rId7" Type="http://schemas.openxmlformats.org/officeDocument/2006/relationships/image" Target="../media/image55.jpeg"/><Relationship Id="rId12" Type="http://schemas.openxmlformats.org/officeDocument/2006/relationships/image" Target="../media/image60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54.jpeg"/><Relationship Id="rId11" Type="http://schemas.openxmlformats.org/officeDocument/2006/relationships/image" Target="../media/image59.jpeg"/><Relationship Id="rId5" Type="http://schemas.openxmlformats.org/officeDocument/2006/relationships/image" Target="../media/image53.png"/><Relationship Id="rId10" Type="http://schemas.openxmlformats.org/officeDocument/2006/relationships/image" Target="../media/image58.jpeg"/><Relationship Id="rId4" Type="http://schemas.openxmlformats.org/officeDocument/2006/relationships/image" Target="../media/image52.jpeg"/><Relationship Id="rId9" Type="http://schemas.openxmlformats.org/officeDocument/2006/relationships/image" Target="../media/image57.jpe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1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katteetaten.no/satser/merverdiavgift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5.png"/><Relationship Id="rId4" Type="http://schemas.openxmlformats.org/officeDocument/2006/relationships/hyperlink" Target="https://i.ntnu.no/wiki/-/wiki/Norsk/MVA-koder+-+oversikt+med+forklaring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774201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89"/>
            <a:endParaRPr lang="nb-NO" sz="405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1"/>
            <a:ext cx="9144000" cy="527412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>
              <a:defRPr/>
            </a:pPr>
            <a:endParaRPr lang="nb-NO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19506" y="2373370"/>
            <a:ext cx="8114088" cy="1323439"/>
          </a:xfrm>
        </p:spPr>
        <p:txBody>
          <a:bodyPr vert="horz"/>
          <a:lstStyle/>
          <a:p>
            <a:r>
              <a:rPr lang="nb-NO" sz="4000">
                <a:solidFill>
                  <a:schemeClr val="bg1"/>
                </a:solidFill>
              </a:rPr>
              <a:t>Behov til betaling – </a:t>
            </a:r>
            <a:br>
              <a:rPr lang="nb-NO" sz="4000">
                <a:solidFill>
                  <a:schemeClr val="bg1"/>
                </a:solidFill>
              </a:rPr>
            </a:br>
            <a:r>
              <a:rPr lang="nb-NO" sz="4000">
                <a:solidFill>
                  <a:schemeClr val="bg1"/>
                </a:solidFill>
              </a:rPr>
              <a:t>Fagkafé 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9506" y="444335"/>
            <a:ext cx="5406359" cy="43329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6641526" y="4756215"/>
            <a:ext cx="2413321" cy="369332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 defTabSz="457189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24. april 2024</a:t>
            </a:r>
            <a:endParaRPr lang="nb-NO" sz="15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C9D212F-50E9-321C-FE68-3821F8EBF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525401"/>
          </a:xfrm>
        </p:spPr>
        <p:txBody>
          <a:bodyPr/>
          <a:lstStyle/>
          <a:p>
            <a:r>
              <a:rPr lang="nb-NO" sz="2800"/>
              <a:t>Mva - koder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ECD6B14-C917-C6ED-B3E1-4880EA231B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350" y="946851"/>
            <a:ext cx="6172200" cy="3789553"/>
          </a:xfrm>
        </p:spPr>
        <p:txBody>
          <a:bodyPr/>
          <a:lstStyle/>
          <a:p>
            <a:pPr marL="0" indent="0">
              <a:buNone/>
            </a:pPr>
            <a:r>
              <a:rPr lang="nb-NO" sz="1350"/>
              <a:t>Kostnader og investeringer (kjøp)</a:t>
            </a:r>
          </a:p>
          <a:p>
            <a:pPr marL="0" indent="0">
              <a:buNone/>
            </a:pPr>
            <a:r>
              <a:rPr lang="nb-NO" sz="1500"/>
              <a:t>Innkjøpsordre NORSKE leverandører</a:t>
            </a:r>
          </a:p>
        </p:txBody>
      </p:sp>
      <p:graphicFrame>
        <p:nvGraphicFramePr>
          <p:cNvPr id="6" name="Tabell 6">
            <a:extLst>
              <a:ext uri="{FF2B5EF4-FFF2-40B4-BE49-F238E27FC236}">
                <a16:creationId xmlns:a16="http://schemas.microsoft.com/office/drawing/2014/main" id="{3E7108DF-B46D-22BF-560E-6CA89AD7BA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0450210"/>
              </p:ext>
            </p:extLst>
          </p:nvPr>
        </p:nvGraphicFramePr>
        <p:xfrm>
          <a:off x="696470" y="1545220"/>
          <a:ext cx="6835922" cy="35071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4590">
                  <a:extLst>
                    <a:ext uri="{9D8B030D-6E8A-4147-A177-3AD203B41FA5}">
                      <a16:colId xmlns:a16="http://schemas.microsoft.com/office/drawing/2014/main" val="3087556225"/>
                    </a:ext>
                  </a:extLst>
                </a:gridCol>
                <a:gridCol w="1512660">
                  <a:extLst>
                    <a:ext uri="{9D8B030D-6E8A-4147-A177-3AD203B41FA5}">
                      <a16:colId xmlns:a16="http://schemas.microsoft.com/office/drawing/2014/main" val="2674523734"/>
                    </a:ext>
                  </a:extLst>
                </a:gridCol>
                <a:gridCol w="2130759">
                  <a:extLst>
                    <a:ext uri="{9D8B030D-6E8A-4147-A177-3AD203B41FA5}">
                      <a16:colId xmlns:a16="http://schemas.microsoft.com/office/drawing/2014/main" val="579894249"/>
                    </a:ext>
                  </a:extLst>
                </a:gridCol>
                <a:gridCol w="2497913">
                  <a:extLst>
                    <a:ext uri="{9D8B030D-6E8A-4147-A177-3AD203B41FA5}">
                      <a16:colId xmlns:a16="http://schemas.microsoft.com/office/drawing/2014/main" val="2660132291"/>
                    </a:ext>
                  </a:extLst>
                </a:gridCol>
              </a:tblGrid>
              <a:tr h="28850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empel 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2467602554"/>
                  </a:ext>
                </a:extLst>
              </a:tr>
              <a:tr h="45980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I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varer eller tjenester med 25% MVA uten fradragsrett 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07504571"/>
                  </a:ext>
                </a:extLst>
              </a:tr>
              <a:tr h="45980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varer eller tjenester med 1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mat til egen bruk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630217250"/>
                  </a:ext>
                </a:extLst>
              </a:tr>
              <a:tr h="459803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X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varer eller tjenester med 12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ransporttjenester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907747443"/>
                  </a:ext>
                </a:extLst>
              </a:tr>
              <a:tr h="459803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N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varer eller tjenester med 2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er eller 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TNU har svært begrenset fradragsrett 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57443866"/>
                  </a:ext>
                </a:extLst>
              </a:tr>
              <a:tr h="459803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varer med 1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mat for direkte videresalg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134419341"/>
                  </a:ext>
                </a:extLst>
              </a:tr>
              <a:tr h="459803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tjenester med 12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transport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61749724"/>
                  </a:ext>
                </a:extLst>
              </a:tr>
              <a:tr h="459803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varer eller tjenester uten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Bøker til eget bibliote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endParaRPr lang="nb-NO" sz="800" b="0" i="0" u="none" strike="noStrike" kern="120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7573796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33507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4CB5B7-1A19-BC1A-A84F-CDF1C0071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/>
          <a:lstStyle/>
          <a:p>
            <a:r>
              <a:rPr lang="nb-NO" sz="2800"/>
              <a:t>Mva</a:t>
            </a:r>
            <a:r>
              <a:rPr lang="nb-NO" sz="1800"/>
              <a:t> – </a:t>
            </a:r>
            <a:r>
              <a:rPr lang="nb-NO" sz="2800"/>
              <a:t>koder i Unit4</a:t>
            </a:r>
            <a:endParaRPr lang="en-US" sz="280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ED602EE-0EA9-20D0-12D1-12F9144F7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677494"/>
            <a:ext cx="8418747" cy="3946546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endParaRPr lang="nb-NO" sz="1350"/>
          </a:p>
          <a:p>
            <a:pPr marL="0" indent="0">
              <a:buNone/>
            </a:pPr>
            <a:r>
              <a:rPr lang="nb-NO" sz="1350"/>
              <a:t>Kostnader og investeringer (kjøp)</a:t>
            </a:r>
            <a:endParaRPr lang="nb-NO"/>
          </a:p>
          <a:p>
            <a:pPr marL="342265" indent="-342265">
              <a:buNone/>
            </a:pPr>
            <a:r>
              <a:rPr lang="nb-NO" sz="1600"/>
              <a:t>Faktura uten innkjøpsordre norske leverandører</a:t>
            </a:r>
            <a:endParaRPr lang="nb-NO"/>
          </a:p>
          <a:p>
            <a:pPr marL="0" indent="0">
              <a:buNone/>
            </a:pPr>
            <a:endParaRPr lang="nb-NO"/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BD506242-446A-B680-70F7-9F8E1E9842D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736912"/>
              </p:ext>
            </p:extLst>
          </p:nvPr>
        </p:nvGraphicFramePr>
        <p:xfrm>
          <a:off x="445324" y="1499259"/>
          <a:ext cx="7211329" cy="23672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2321">
                  <a:extLst>
                    <a:ext uri="{9D8B030D-6E8A-4147-A177-3AD203B41FA5}">
                      <a16:colId xmlns:a16="http://schemas.microsoft.com/office/drawing/2014/main" val="1674458048"/>
                    </a:ext>
                  </a:extLst>
                </a:gridCol>
                <a:gridCol w="1706909">
                  <a:extLst>
                    <a:ext uri="{9D8B030D-6E8A-4147-A177-3AD203B41FA5}">
                      <a16:colId xmlns:a16="http://schemas.microsoft.com/office/drawing/2014/main" val="4183780588"/>
                    </a:ext>
                  </a:extLst>
                </a:gridCol>
                <a:gridCol w="3007970">
                  <a:extLst>
                    <a:ext uri="{9D8B030D-6E8A-4147-A177-3AD203B41FA5}">
                      <a16:colId xmlns:a16="http://schemas.microsoft.com/office/drawing/2014/main" val="864320901"/>
                    </a:ext>
                  </a:extLst>
                </a:gridCol>
                <a:gridCol w="1884129">
                  <a:extLst>
                    <a:ext uri="{9D8B030D-6E8A-4147-A177-3AD203B41FA5}">
                      <a16:colId xmlns:a16="http://schemas.microsoft.com/office/drawing/2014/main" val="829066044"/>
                    </a:ext>
                  </a:extLst>
                </a:gridCol>
              </a:tblGrid>
              <a:tr h="357607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empel 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2753962458"/>
                  </a:ext>
                </a:extLst>
              </a:tr>
              <a:tr h="398870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varer eller tjenester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488013483"/>
                  </a:ext>
                </a:extLst>
              </a:tr>
              <a:tr h="398870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varer eller tjenester med 25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Varer eller 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lvl="0" algn="l" defTabSz="457189" rtl="0" eaLnBrk="1" fontAlgn="b" latinLnBrk="0" hangingPunct="1">
                        <a:buNone/>
                      </a:pPr>
                      <a:r>
                        <a:rPr lang="nb-NO" sz="800" b="0" i="0" u="none" strike="noStrike" kern="1200" noProof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NTNU har svært begrenset fradragsrett</a:t>
                      </a:r>
                      <a:endParaRPr lang="en-US" sz="800" b="0" i="0" u="none" strike="noStrike" kern="1200"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2900778881"/>
                  </a:ext>
                </a:extLst>
              </a:tr>
              <a:tr h="398870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M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varer med 15 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mat for direkte videresalg (ikke servering)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161616880"/>
                  </a:ext>
                </a:extLst>
              </a:tr>
              <a:tr h="398870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R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tjenester med 12 % MVA med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transporttjenester for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56859454"/>
                  </a:ext>
                </a:extLst>
              </a:tr>
              <a:tr h="398870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varer eller tjenester fritatt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bøker til eget bibliote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1970671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9157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A0F01EB-7297-699D-8DB3-9F015AEED1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525401"/>
          </a:xfrm>
        </p:spPr>
        <p:txBody>
          <a:bodyPr/>
          <a:lstStyle/>
          <a:p>
            <a:r>
              <a:rPr lang="nb-NO" sz="2800"/>
              <a:t>Beslutnings-tre kjøp i Norge</a:t>
            </a:r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274E2068-7F46-D2DC-7220-79EFC545D5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782C321F-F8D2-1336-2B96-722D96609A9B}"/>
              </a:ext>
            </a:extLst>
          </p:cNvPr>
          <p:cNvGraphicFramePr/>
          <p:nvPr/>
        </p:nvGraphicFramePr>
        <p:xfrm>
          <a:off x="1071418" y="946851"/>
          <a:ext cx="6981582" cy="37304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6B21D3EB-608C-CD70-7205-66F3F04A6295}"/>
              </a:ext>
            </a:extLst>
          </p:cNvPr>
          <p:cNvCxnSpPr>
            <a:cxnSpLocks/>
          </p:cNvCxnSpPr>
          <p:nvPr/>
        </p:nvCxnSpPr>
        <p:spPr>
          <a:xfrm>
            <a:off x="4076454" y="3526340"/>
            <a:ext cx="0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87492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629419B-FB3A-6BEC-DD0E-D62DE7E94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188" y="105771"/>
            <a:ext cx="8617130" cy="956288"/>
          </a:xfrm>
        </p:spPr>
        <p:txBody>
          <a:bodyPr/>
          <a:lstStyle/>
          <a:p>
            <a:r>
              <a:rPr lang="nb-NO" sz="2800"/>
              <a:t>Eksempel på </a:t>
            </a:r>
            <a:r>
              <a:rPr lang="nb-NO" sz="2800" err="1"/>
              <a:t>mva</a:t>
            </a:r>
            <a:r>
              <a:rPr lang="nb-NO" sz="2800"/>
              <a:t>-koder til norske leverandører med og uten innkjøpsordre</a:t>
            </a:r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B7F914F9-93EB-95AD-D192-AD33733CC781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17095" y="1203070"/>
          <a:ext cx="5994213" cy="32492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2036">
                  <a:extLst>
                    <a:ext uri="{9D8B030D-6E8A-4147-A177-3AD203B41FA5}">
                      <a16:colId xmlns:a16="http://schemas.microsoft.com/office/drawing/2014/main" val="4035450186"/>
                    </a:ext>
                  </a:extLst>
                </a:gridCol>
                <a:gridCol w="1984647">
                  <a:extLst>
                    <a:ext uri="{9D8B030D-6E8A-4147-A177-3AD203B41FA5}">
                      <a16:colId xmlns:a16="http://schemas.microsoft.com/office/drawing/2014/main" val="3941054923"/>
                    </a:ext>
                  </a:extLst>
                </a:gridCol>
                <a:gridCol w="2077530">
                  <a:extLst>
                    <a:ext uri="{9D8B030D-6E8A-4147-A177-3AD203B41FA5}">
                      <a16:colId xmlns:a16="http://schemas.microsoft.com/office/drawing/2014/main" val="1209192735"/>
                    </a:ext>
                  </a:extLst>
                </a:gridCol>
              </a:tblGrid>
              <a:tr h="45688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Ulike kjøp</a:t>
                      </a:r>
                      <a:endParaRPr lang="nb-NO" sz="8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jøp med innkjøpsordre </a:t>
                      </a:r>
                      <a:endParaRPr lang="nb-NO" sz="8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>
                          <a:solidFill>
                            <a:schemeClr val="tx1"/>
                          </a:solidFill>
                        </a:rPr>
                        <a:t>Kjøp uten innkjøpsordre</a:t>
                      </a:r>
                      <a:endParaRPr lang="nb-NO" sz="8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77286779"/>
                  </a:ext>
                </a:extLst>
              </a:tr>
              <a:tr h="907147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nb-NO" sz="1000" b="0" i="0" u="none">
                          <a:solidFill>
                            <a:schemeClr val="tx1"/>
                          </a:solidFill>
                        </a:rPr>
                        <a:t>Ordinært kjøp til egen bruk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0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Forbruks- og driftsmateriell, lab./verksted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1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Gass og kjemikalier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3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Undervisningsmateriell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6585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800" b="0" i="0" u="none">
                          <a:solidFill>
                            <a:schemeClr val="tx1"/>
                          </a:solidFill>
                        </a:rPr>
                        <a:t>Driftsrekvisita</a:t>
                      </a:r>
                      <a:r>
                        <a:rPr lang="nb-NO" sz="800">
                          <a:solidFill>
                            <a:schemeClr val="tx1"/>
                          </a:solidFill>
                        </a:rPr>
                        <a:t> </a:t>
                      </a:r>
                      <a:endParaRPr lang="en-US" sz="800">
                        <a:solidFill>
                          <a:schemeClr val="tx1"/>
                        </a:solidFill>
                      </a:endParaRPr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X1 – Kjøp av varer eller tjenester med 25% uten fradragsret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00 – Kjøp av varer eller tjenester uten fradragsret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29276785"/>
                  </a:ext>
                </a:extLst>
              </a:tr>
              <a:tr h="668773">
                <a:tc>
                  <a:txBody>
                    <a:bodyPr/>
                    <a:lstStyle/>
                    <a:p>
                      <a:r>
                        <a:rPr lang="nb-NO" sz="1000" b="0" i="0" u="none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jøp av mat til egen bruk, ikke servering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800"/>
                        <a:t>6861 Servering ved møter, Catering</a:t>
                      </a:r>
                    </a:p>
                    <a:p>
                      <a:endParaRPr lang="nb-NO" sz="10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X2 – Kjøp av varer eller tjenester med 15 % mva uten fradragsret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00 – Kjøp av varer eller tjenester uten fradragsret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95002387"/>
                  </a:ext>
                </a:extLst>
              </a:tr>
              <a:tr h="940422">
                <a:tc>
                  <a:txBody>
                    <a:bodyPr/>
                    <a:lstStyle/>
                    <a:p>
                      <a:r>
                        <a:rPr lang="nb-NO" sz="1000"/>
                        <a:t>Kjøp av varer eller tjenester for direkte videresal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nb-NO" sz="800"/>
                        <a:t>4301 Innkjøp av varer for videresalg fradragsberettiget Eks Butikk V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1N – Kjøp av varer eller tjenester med 25% mva med fradragsret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000"/>
                        <a:t>1 – Kjøp av varer eller tjenester med 25% mva med fradragsrett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1007259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61374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3E24112-F6BC-4914-8726-DF8C6E352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8317348" cy="648512"/>
          </a:xfrm>
        </p:spPr>
        <p:txBody>
          <a:bodyPr/>
          <a:lstStyle/>
          <a:p>
            <a:r>
              <a:rPr lang="nb-NO" sz="1800"/>
              <a:t>Mva</a:t>
            </a:r>
            <a:r>
              <a:rPr lang="nb-NO" sz="1200"/>
              <a:t> – </a:t>
            </a:r>
            <a:r>
              <a:rPr lang="nb-NO" sz="1800"/>
              <a:t>koder i Unit4</a:t>
            </a:r>
            <a:br>
              <a:rPr lang="nb-NO" sz="1800"/>
            </a:br>
            <a:endParaRPr lang="nb-NO" sz="180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914D870-766B-0E73-5D7B-C037B65B4A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23740"/>
            <a:ext cx="8229600" cy="3794443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 sz="1800" b="1">
                <a:ea typeface="+mj-ea"/>
              </a:rPr>
              <a:t>Kostnader og investeringer (kjøp av VARER)</a:t>
            </a:r>
          </a:p>
          <a:p>
            <a:pPr marL="0" indent="0">
              <a:buNone/>
            </a:pPr>
            <a:r>
              <a:rPr lang="nb-NO" sz="1200"/>
              <a:t>Varer er fysiske og registreres/deklareres når de krysser grensa. NTNU må selv legge på avgiftskode for påslag av mva kode.  </a:t>
            </a:r>
          </a:p>
          <a:p>
            <a:pPr marL="0" indent="0">
              <a:buNone/>
            </a:pPr>
            <a:br>
              <a:rPr lang="nb-NO" sz="1200"/>
            </a:br>
            <a:r>
              <a:rPr lang="nb-NO" sz="1200"/>
              <a:t>Innkjøpsordre på varer UTENLANDSKE  leverandører</a:t>
            </a:r>
          </a:p>
          <a:p>
            <a:pPr marL="342265" indent="-342265"/>
            <a:endParaRPr lang="nb-NO"/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AFBC8FD7-8707-4C11-04C8-B2B48184C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6081245"/>
              </p:ext>
            </p:extLst>
          </p:nvPr>
        </p:nvGraphicFramePr>
        <p:xfrm>
          <a:off x="584521" y="2122136"/>
          <a:ext cx="7153155" cy="29407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6554">
                  <a:extLst>
                    <a:ext uri="{9D8B030D-6E8A-4147-A177-3AD203B41FA5}">
                      <a16:colId xmlns:a16="http://schemas.microsoft.com/office/drawing/2014/main" val="859919018"/>
                    </a:ext>
                  </a:extLst>
                </a:gridCol>
                <a:gridCol w="2319633">
                  <a:extLst>
                    <a:ext uri="{9D8B030D-6E8A-4147-A177-3AD203B41FA5}">
                      <a16:colId xmlns:a16="http://schemas.microsoft.com/office/drawing/2014/main" val="3466835718"/>
                    </a:ext>
                  </a:extLst>
                </a:gridCol>
                <a:gridCol w="1843484">
                  <a:extLst>
                    <a:ext uri="{9D8B030D-6E8A-4147-A177-3AD203B41FA5}">
                      <a16:colId xmlns:a16="http://schemas.microsoft.com/office/drawing/2014/main" val="2856119189"/>
                    </a:ext>
                  </a:extLst>
                </a:gridCol>
                <a:gridCol w="1843484">
                  <a:extLst>
                    <a:ext uri="{9D8B030D-6E8A-4147-A177-3AD203B41FA5}">
                      <a16:colId xmlns:a16="http://schemas.microsoft.com/office/drawing/2014/main" val="2391384998"/>
                    </a:ext>
                  </a:extLst>
                </a:gridCol>
              </a:tblGrid>
              <a:tr h="421752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VA - KODE Unit 4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empel 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1632132931"/>
                  </a:ext>
                </a:extLst>
              </a:tr>
              <a:tr h="402062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varer med påslag av 2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Ordinære kjøp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endParaRPr lang="nb-NO" sz="800" b="0" i="0" u="none" strike="noStrike" kern="120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95983205"/>
                  </a:ext>
                </a:extLst>
              </a:tr>
              <a:tr h="402062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varer med påslag av 15% MVA uten fradragsret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matvarer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078828569"/>
                  </a:ext>
                </a:extLst>
              </a:tr>
              <a:tr h="402062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varer med fradragsrett for påslag av 25% 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varer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989573286"/>
                  </a:ext>
                </a:extLst>
              </a:tr>
              <a:tr h="402062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varer med  fradragsrett for påslag av 1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mat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val="3338069263"/>
                  </a:ext>
                </a:extLst>
              </a:tr>
              <a:tr h="385652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mport av varer fritatt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Bøker til egen bruk og biologisk materiale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endParaRPr lang="nb-NO" sz="800" b="0" i="0" u="none" strike="noStrike" kern="120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21626616"/>
                  </a:ext>
                </a:extLst>
              </a:tr>
              <a:tr h="525143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varer uten norsk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Ikke til bruk i Norge. Eks. mindre driftsrekvisita som forbrukes i utlande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endParaRPr lang="nb-NO" sz="800" b="0" i="0" u="none" strike="noStrike" kern="120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86970200"/>
                  </a:ext>
                </a:extLst>
              </a:tr>
            </a:tbl>
          </a:graphicData>
        </a:graphic>
      </p:graphicFrame>
      <p:pic>
        <p:nvPicPr>
          <p:cNvPr id="6" name="Bilde 5">
            <a:extLst>
              <a:ext uri="{FF2B5EF4-FFF2-40B4-BE49-F238E27FC236}">
                <a16:creationId xmlns:a16="http://schemas.microsoft.com/office/drawing/2014/main" id="{C0F815AE-58A0-F0C9-ADED-35BCC33BE3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2004" y="1516618"/>
            <a:ext cx="3172119" cy="605518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3B55EF9A-F65E-73D8-466D-FCA8BFCB2A4F}"/>
              </a:ext>
            </a:extLst>
          </p:cNvPr>
          <p:cNvSpPr txBox="1"/>
          <p:nvPr/>
        </p:nvSpPr>
        <p:spPr>
          <a:xfrm>
            <a:off x="5312331" y="1656414"/>
            <a:ext cx="3091888" cy="318693"/>
          </a:xfrm>
          <a:prstGeom prst="rect">
            <a:avLst/>
          </a:prstGeom>
          <a:noFill/>
          <a:ln w="28575">
            <a:solidFill>
              <a:schemeClr val="accent1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nb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5469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3CDAFB0-6884-63AA-F85D-7180DFEC8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371513"/>
          </a:xfrm>
        </p:spPr>
        <p:txBody>
          <a:bodyPr/>
          <a:lstStyle/>
          <a:p>
            <a:r>
              <a:rPr lang="nb-NO" sz="1800"/>
              <a:t>Mva</a:t>
            </a:r>
            <a:r>
              <a:rPr lang="nb-NO" sz="1200"/>
              <a:t> – </a:t>
            </a:r>
            <a:r>
              <a:rPr lang="nb-NO" sz="1800"/>
              <a:t>koder i Unit4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E792AB-BA3A-F0F6-8DEC-CA3286E00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200"/>
              <a:t>Kostnader (kjøp av TJENESTER)</a:t>
            </a:r>
          </a:p>
          <a:p>
            <a:pPr lvl="1"/>
            <a:r>
              <a:rPr lang="nb-NO" sz="1050"/>
              <a:t>Tjenester er ikke fysiske og NTNU må selv håndtere norsk MVA-påslag. Mva kode på innkjøpsordre</a:t>
            </a:r>
          </a:p>
          <a:p>
            <a:pPr lvl="2"/>
            <a:r>
              <a:rPr lang="nb-NO" sz="900"/>
              <a:t>Eks:</a:t>
            </a:r>
          </a:p>
          <a:p>
            <a:pPr lvl="3"/>
            <a:r>
              <a:rPr lang="nb-NO" sz="900"/>
              <a:t>Språkvask</a:t>
            </a:r>
          </a:p>
          <a:p>
            <a:pPr lvl="3"/>
            <a:r>
              <a:rPr lang="nb-NO" sz="900"/>
              <a:t>Publisering</a:t>
            </a:r>
          </a:p>
          <a:p>
            <a:pPr lvl="3"/>
            <a:r>
              <a:rPr lang="nb-NO" sz="900"/>
              <a:t>Programvare (levert over internett)</a:t>
            </a:r>
          </a:p>
          <a:p>
            <a:pPr marL="0" indent="0">
              <a:buNone/>
            </a:pPr>
            <a:br>
              <a:rPr lang="nb-NO" sz="1200"/>
            </a:br>
            <a:r>
              <a:rPr lang="nb-NO" sz="1200"/>
              <a:t>Innkjøpsordre på tjenester UTENLANDSKE  leverandører</a:t>
            </a:r>
          </a:p>
          <a:p>
            <a:endParaRPr lang="nb-NO"/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9E83B0EC-6822-BCCE-AF80-BD1DD2F64D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3246611"/>
              </p:ext>
            </p:extLst>
          </p:nvPr>
        </p:nvGraphicFramePr>
        <p:xfrm>
          <a:off x="340006" y="2712816"/>
          <a:ext cx="5105402" cy="16390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7300">
                  <a:extLst>
                    <a:ext uri="{9D8B030D-6E8A-4147-A177-3AD203B41FA5}">
                      <a16:colId xmlns:a16="http://schemas.microsoft.com/office/drawing/2014/main" val="1929685497"/>
                    </a:ext>
                  </a:extLst>
                </a:gridCol>
                <a:gridCol w="1263337">
                  <a:extLst>
                    <a:ext uri="{9D8B030D-6E8A-4147-A177-3AD203B41FA5}">
                      <a16:colId xmlns:a16="http://schemas.microsoft.com/office/drawing/2014/main" val="1858226256"/>
                    </a:ext>
                  </a:extLst>
                </a:gridCol>
                <a:gridCol w="1635206">
                  <a:extLst>
                    <a:ext uri="{9D8B030D-6E8A-4147-A177-3AD203B41FA5}">
                      <a16:colId xmlns:a16="http://schemas.microsoft.com/office/drawing/2014/main" val="33695629"/>
                    </a:ext>
                  </a:extLst>
                </a:gridCol>
                <a:gridCol w="1329559">
                  <a:extLst>
                    <a:ext uri="{9D8B030D-6E8A-4147-A177-3AD203B41FA5}">
                      <a16:colId xmlns:a16="http://schemas.microsoft.com/office/drawing/2014/main" val="4083141047"/>
                    </a:ext>
                  </a:extLst>
                </a:gridCol>
              </a:tblGrid>
              <a:tr h="318033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- KODE Unit 4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Forklaring</a:t>
                      </a: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ksempel </a:t>
                      </a:r>
                      <a:endParaRPr lang="nb-NO" sz="800" b="1" i="0" u="none" strike="noStrike" kern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144" marR="7144" marT="7144" marB="0"/>
                </a:tc>
                <a:tc>
                  <a:txBody>
                    <a:bodyPr/>
                    <a:lstStyle/>
                    <a:p>
                      <a:pPr marL="0" algn="l" defTabSz="457200" rtl="0" eaLnBrk="1" fontAlgn="b" latinLnBrk="0" hangingPunct="1"/>
                      <a:r>
                        <a:rPr lang="nb-NO" sz="800" b="1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ommentar</a:t>
                      </a: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val="1811454627"/>
                  </a:ext>
                </a:extLst>
              </a:tr>
              <a:tr h="440354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med påslag av 2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ks. programvare, lisenser, språkvask til egen bruk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/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4747182"/>
                  </a:ext>
                </a:extLst>
              </a:tr>
              <a:tr h="440354"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F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Kjøp av tjenester med fradrag for påslag av 25%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l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Eks. programvare, lisenser, språkvask til direkte videresalg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marL="0" algn="ctr" defTabSz="457189" rtl="0" eaLnBrk="1" fontAlgn="b" latinLnBrk="0" hangingPunct="1"/>
                      <a:r>
                        <a:rPr lang="nb-NO" sz="800" b="0" i="0" u="none" strike="noStrike" kern="120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MVA KODE  lite aktuell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819538762"/>
                  </a:ext>
                </a:extLst>
              </a:tr>
              <a:tr h="440354">
                <a:tc>
                  <a:txBody>
                    <a:bodyPr/>
                    <a:lstStyle/>
                    <a:p>
                      <a:pPr algn="ctr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jøp av tjenester uten norsk MVA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kke til bruk i Norge. Eks. konferanser/overnatting i utlandet</a:t>
                      </a: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/>
                      <a:endParaRPr lang="nb-NO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339483666"/>
                  </a:ext>
                </a:extLst>
              </a:tr>
            </a:tbl>
          </a:graphicData>
        </a:graphic>
      </p:graphicFrame>
      <p:sp>
        <p:nvSpPr>
          <p:cNvPr id="5" name="Rektangel 4">
            <a:extLst>
              <a:ext uri="{FF2B5EF4-FFF2-40B4-BE49-F238E27FC236}">
                <a16:creationId xmlns:a16="http://schemas.microsoft.com/office/drawing/2014/main" id="{3346459D-F374-B632-C077-F6A1D66011D0}"/>
              </a:ext>
            </a:extLst>
          </p:cNvPr>
          <p:cNvSpPr/>
          <p:nvPr/>
        </p:nvSpPr>
        <p:spPr>
          <a:xfrm>
            <a:off x="5890261" y="2712816"/>
            <a:ext cx="3113852" cy="1176278"/>
          </a:xfrm>
          <a:prstGeom prst="rect">
            <a:avLst/>
          </a:prstGeom>
          <a:noFill/>
          <a:ln w="28575">
            <a:solidFill>
              <a:schemeClr val="accent1">
                <a:lumMod val="90000"/>
              </a:schemeClr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>
                <a:solidFill>
                  <a:schemeClr val="tx1"/>
                </a:solidFill>
              </a:rPr>
              <a:t>Merk: </a:t>
            </a:r>
            <a:r>
              <a:rPr lang="nb-NO" sz="1400">
                <a:solidFill>
                  <a:schemeClr val="tx1"/>
                </a:solidFill>
              </a:rPr>
              <a:t>På faktura med og uten innkjøpsordre for utenlandske leverandører brukes samme mva. koder </a:t>
            </a:r>
          </a:p>
        </p:txBody>
      </p:sp>
    </p:spTree>
    <p:extLst>
      <p:ext uri="{BB962C8B-B14F-4D97-AF65-F5344CB8AC3E}">
        <p14:creationId xmlns:p14="http://schemas.microsoft.com/office/powerpoint/2010/main" val="20936631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E0DFB2F-E9C9-62BC-9B49-D28DDE0D0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eslutnings-tre kjøp fra utlande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B43D2B1-2581-E883-6F05-8AB0A23A00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F9003E7A-3C7B-3CB7-E682-17420CAE6BFA}"/>
              </a:ext>
            </a:extLst>
          </p:cNvPr>
          <p:cNvGraphicFramePr/>
          <p:nvPr/>
        </p:nvGraphicFramePr>
        <p:xfrm>
          <a:off x="-166223" y="1122665"/>
          <a:ext cx="8333478" cy="33405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829049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AAF6F09-A3B9-152B-D2F1-B323F3AB6B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086" y="234259"/>
            <a:ext cx="6172200" cy="525401"/>
          </a:xfrm>
        </p:spPr>
        <p:txBody>
          <a:bodyPr/>
          <a:lstStyle/>
          <a:p>
            <a:r>
              <a:rPr lang="nb-NO" sz="2800"/>
              <a:t>Vanlige Innkjøpsordre til utlandet</a:t>
            </a:r>
          </a:p>
        </p:txBody>
      </p:sp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44B2EB96-E71F-5D50-D9CD-D35DB1F86A6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08651" y="997003"/>
          <a:ext cx="6887696" cy="3368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2252">
                  <a:extLst>
                    <a:ext uri="{9D8B030D-6E8A-4147-A177-3AD203B41FA5}">
                      <a16:colId xmlns:a16="http://schemas.microsoft.com/office/drawing/2014/main" val="3451335583"/>
                    </a:ext>
                  </a:extLst>
                </a:gridCol>
                <a:gridCol w="1932495">
                  <a:extLst>
                    <a:ext uri="{9D8B030D-6E8A-4147-A177-3AD203B41FA5}">
                      <a16:colId xmlns:a16="http://schemas.microsoft.com/office/drawing/2014/main" val="2419487018"/>
                    </a:ext>
                  </a:extLst>
                </a:gridCol>
                <a:gridCol w="1593130">
                  <a:extLst>
                    <a:ext uri="{9D8B030D-6E8A-4147-A177-3AD203B41FA5}">
                      <a16:colId xmlns:a16="http://schemas.microsoft.com/office/drawing/2014/main" val="3307735632"/>
                    </a:ext>
                  </a:extLst>
                </a:gridCol>
                <a:gridCol w="1729819">
                  <a:extLst>
                    <a:ext uri="{9D8B030D-6E8A-4147-A177-3AD203B41FA5}">
                      <a16:colId xmlns:a16="http://schemas.microsoft.com/office/drawing/2014/main" val="3873182950"/>
                    </a:ext>
                  </a:extLst>
                </a:gridCol>
              </a:tblGrid>
              <a:tr h="72009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20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nb-NO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Import av varer med påslag av 25% MVA uten fradragsrett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3T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jøp av tjenester med påslag av 25% MVA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VA-</a:t>
                      </a:r>
                      <a:r>
                        <a:rPr lang="en-US" sz="1400" b="1" kern="120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de</a:t>
                      </a:r>
                      <a:r>
                        <a:rPr lang="en-US" sz="14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3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Import av varer fritatt MVA)</a:t>
                      </a:r>
                    </a:p>
                    <a:p>
                      <a:endParaRPr lang="nb-NO" sz="800" b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MVA-</a:t>
                      </a:r>
                      <a:r>
                        <a:rPr lang="en-US" sz="1400" err="1">
                          <a:solidFill>
                            <a:schemeClr val="tx1"/>
                          </a:solidFill>
                        </a:rPr>
                        <a:t>kode</a:t>
                      </a:r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 0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800" b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Kjøp av tjenester uten norsk MVA)</a:t>
                      </a:r>
                    </a:p>
                    <a:p>
                      <a:endParaRPr lang="nb-NO" sz="140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748335778"/>
                  </a:ext>
                </a:extLst>
              </a:tr>
              <a:tr h="2537460"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Forbruks- og driftsmateriell , lab./verksted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1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Gass og kjemikali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3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Undervisningsmateriell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5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Driftsrekvisita</a:t>
                      </a:r>
                      <a:r>
                        <a:rPr lang="nb-NO" sz="1400"/>
                        <a:t> </a:t>
                      </a:r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73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Andre konsulenttjenester*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790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Kjøp forsknings- og lab tjenest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821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Publiseringsavgift</a:t>
                      </a:r>
                      <a:r>
                        <a:rPr lang="nb-NO" sz="1400"/>
                        <a:t>  </a:t>
                      </a:r>
                      <a:endParaRPr lang="en-US" sz="1400"/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843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Bøker</a:t>
                      </a:r>
                      <a:endParaRPr lang="en-US" sz="1400"/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/>
                        <a:t>6582</a:t>
                      </a:r>
                      <a:r>
                        <a:rPr lang="nb-NO" sz="1400"/>
                        <a:t> </a:t>
                      </a:r>
                      <a:r>
                        <a:rPr lang="nb-NO" sz="1400" b="0" i="0" u="none"/>
                        <a:t>Organisk materiale</a:t>
                      </a:r>
                      <a:r>
                        <a:rPr lang="nb-NO" sz="1400"/>
                        <a:t>  </a:t>
                      </a:r>
                      <a:endParaRPr lang="en-US" sz="1400"/>
                    </a:p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870 Deltakeravgifter for kurs og seminar, egne ansatte i utlandet</a:t>
                      </a:r>
                      <a:endParaRPr lang="en-US" sz="1400" b="0" i="0" u="non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nb-NO" sz="1400" b="0" i="0" u="none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844 E-bøker</a:t>
                      </a:r>
                    </a:p>
                    <a:p>
                      <a:pPr marL="285750" lvl="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nb-NO" sz="1400" b="0" i="0" u="none" kern="120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068755119"/>
                  </a:ext>
                </a:extLst>
              </a:tr>
            </a:tbl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D3BC7E6-F334-BC8F-3241-8C1A8B9DF881}"/>
              </a:ext>
            </a:extLst>
          </p:cNvPr>
          <p:cNvSpPr/>
          <p:nvPr/>
        </p:nvSpPr>
        <p:spPr>
          <a:xfrm>
            <a:off x="2197861" y="4520135"/>
            <a:ext cx="1733375" cy="389106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600">
                <a:solidFill>
                  <a:schemeClr val="tx1"/>
                </a:solidFill>
              </a:rPr>
              <a:t>* På oppdragsprosjekt kan innkjøp av konsulenttjenester i noen tilfeller være fradragsberettiget, da vil kode 3F være riktig å bruke</a:t>
            </a:r>
          </a:p>
        </p:txBody>
      </p:sp>
    </p:spTree>
    <p:extLst>
      <p:ext uri="{BB962C8B-B14F-4D97-AF65-F5344CB8AC3E}">
        <p14:creationId xmlns:p14="http://schemas.microsoft.com/office/powerpoint/2010/main" val="36005807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B5D47B-F4E6-AD21-C87F-67227D0B50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525401"/>
          </a:xfrm>
        </p:spPr>
        <p:txBody>
          <a:bodyPr/>
          <a:lstStyle/>
          <a:p>
            <a:r>
              <a:rPr lang="nb-NO" sz="2800"/>
              <a:t>Mva-koder og selvstendig næringsdriven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2AB2A5-E090-0463-8D28-7A967A7C3DF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342265" indent="-342265"/>
            <a:r>
              <a:rPr lang="nb-NO" sz="1600"/>
              <a:t>NTNU er pliktig til å rapportere til skattemyndighetene alle kjøp fra selvstendig næringsdrivende uten fast forretningssted.</a:t>
            </a:r>
          </a:p>
          <a:p>
            <a:pPr marL="342265" indent="-342265"/>
            <a:r>
              <a:rPr lang="nb-NO" sz="1600"/>
              <a:t>Det er DFØ som tar ut rapporten for oss, og som sender ut årsoppgavene til disse leverandørene.</a:t>
            </a:r>
          </a:p>
          <a:p>
            <a:pPr marL="342265" indent="-342265"/>
            <a:r>
              <a:rPr lang="nb-NO" sz="1600"/>
              <a:t>Vi rapporterer fakturert beløp </a:t>
            </a:r>
            <a:r>
              <a:rPr lang="nb-NO" sz="1600" b="1"/>
              <a:t>ekskl. mva.</a:t>
            </a:r>
          </a:p>
          <a:p>
            <a:pPr marL="342265" indent="-342265"/>
            <a:r>
              <a:rPr lang="nb-NO" sz="1600"/>
              <a:t>For korrekt beløp på innrapportering og årsoppgaver, er det </a:t>
            </a:r>
            <a:r>
              <a:rPr lang="nb-NO" sz="1600" b="1"/>
              <a:t>derfor viktig at korrekt </a:t>
            </a:r>
            <a:r>
              <a:rPr lang="nb-NO" sz="1600" b="1" err="1"/>
              <a:t>mva</a:t>
            </a:r>
            <a:r>
              <a:rPr lang="nb-NO" sz="1600" b="1"/>
              <a:t>-kode er brukt på fakturaen.</a:t>
            </a:r>
          </a:p>
          <a:p>
            <a:pPr marL="342265" indent="-342265"/>
            <a:r>
              <a:rPr lang="nb-NO" sz="1600"/>
              <a:t>For 2023 fikk vi både påpakning fra DFØ pga. svært mange feil, og mange henvendelser fra de næringsdrivende som hadde fått feil beløp på sine årsoppgaver.</a:t>
            </a:r>
          </a:p>
          <a:p>
            <a:pPr marL="342265" indent="-342265"/>
            <a:r>
              <a:rPr lang="nb-NO" sz="1600" b="1">
                <a:solidFill>
                  <a:srgbClr val="C00000"/>
                </a:solidFill>
              </a:rPr>
              <a:t>MERK! </a:t>
            </a:r>
            <a:r>
              <a:rPr lang="nb-NO" sz="1600" b="1"/>
              <a:t>Legg merke til forskjellen mellom 00 og 0 (gjelder </a:t>
            </a:r>
            <a:r>
              <a:rPr lang="nb-NO" sz="1600" b="1" i="1"/>
              <a:t>alle</a:t>
            </a:r>
            <a:r>
              <a:rPr lang="nb-NO" sz="1600" b="1"/>
              <a:t> norske LEV-faktura):</a:t>
            </a:r>
          </a:p>
          <a:p>
            <a:pPr marL="342265" indent="-342265"/>
            <a:r>
              <a:rPr lang="nb-NO" sz="1600"/>
              <a:t>Kode 00 = Varer/tjenester som </a:t>
            </a:r>
            <a:r>
              <a:rPr lang="nb-NO" sz="1600" b="1"/>
              <a:t>inneholder</a:t>
            </a:r>
            <a:r>
              <a:rPr lang="nb-NO" sz="1600"/>
              <a:t> mva (25%, 15% eler 12%)</a:t>
            </a:r>
          </a:p>
          <a:p>
            <a:pPr marL="342265" indent="-342265"/>
            <a:r>
              <a:rPr lang="nb-NO" sz="1600"/>
              <a:t>Kode 0 = Varer/tjenester </a:t>
            </a:r>
            <a:r>
              <a:rPr lang="nb-NO" sz="1600" b="1"/>
              <a:t>fritatt</a:t>
            </a:r>
            <a:r>
              <a:rPr lang="nb-NO" sz="1600"/>
              <a:t> mva (0%)</a:t>
            </a:r>
          </a:p>
        </p:txBody>
      </p:sp>
    </p:spTree>
    <p:extLst>
      <p:ext uri="{BB962C8B-B14F-4D97-AF65-F5344CB8AC3E}">
        <p14:creationId xmlns:p14="http://schemas.microsoft.com/office/powerpoint/2010/main" val="6512366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E60180-E019-A7AE-BC40-E5ABBC9EA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1202510"/>
          </a:xfrm>
        </p:spPr>
        <p:txBody>
          <a:bodyPr/>
          <a:lstStyle/>
          <a:p>
            <a:r>
              <a:rPr lang="nb-NO"/>
              <a:t>MVA-koder på innkjøpsordre og inngående faktu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0EDA0B-5AEB-9209-881E-F84FD15242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500848"/>
            <a:ext cx="8418747" cy="3123191"/>
          </a:xfrm>
        </p:spPr>
        <p:txBody>
          <a:bodyPr/>
          <a:lstStyle/>
          <a:p>
            <a:r>
              <a:rPr lang="nb-NO"/>
              <a:t>Innkjøpsordre: Når du bestiller varer/tjenester med ulike mva-satser (inkl. ingen mva) som fritekstordre, bruk antallsartikkel (ikke beløpsartikkel). </a:t>
            </a:r>
            <a:r>
              <a:rPr lang="nb-NO" i="1"/>
              <a:t>Usikker? Bruk antallsartikkel</a:t>
            </a:r>
            <a:r>
              <a:rPr lang="nb-NO"/>
              <a:t>.</a:t>
            </a:r>
          </a:p>
          <a:p>
            <a:r>
              <a:rPr lang="nb-NO"/>
              <a:t>Faktura: Hvis faktura inneholder linjer både med og uten mva, eller med ulike mva-satser, </a:t>
            </a:r>
            <a:r>
              <a:rPr lang="nb-NO" b="1"/>
              <a:t>må</a:t>
            </a:r>
            <a:r>
              <a:rPr lang="nb-NO"/>
              <a:t> faktura deles i flere linjer, og det må brukes korrekt mva-kode per linje.</a:t>
            </a:r>
          </a:p>
          <a:p>
            <a:pPr marL="0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355504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19063" cy="119063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36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363335" y="1441351"/>
            <a:ext cx="2685529" cy="1804498"/>
            <a:chOff x="317191" y="1620719"/>
            <a:chExt cx="3580704" cy="2405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646330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skal dele mye informasjon med dere i dag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6179704" y="1441351"/>
            <a:ext cx="2685529" cy="2012247"/>
            <a:chOff x="8406858" y="1620719"/>
            <a:chExt cx="3580704" cy="2682995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5"/>
              <a:ext cx="3580704" cy="923329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/>
            <a:p>
              <a:pPr algn="ctr"/>
              <a:r>
                <a:rPr lang="nb-NO" sz="1350"/>
                <a:t>Vi vil gjøre opptak av møtet – skru av kameraet hvis du ikke vil være med på opptaket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3271521" y="1441351"/>
            <a:ext cx="2685529" cy="1827579"/>
            <a:chOff x="4362024" y="1620719"/>
            <a:chExt cx="3580704" cy="2436774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6771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 sz="1350"/>
                <a:t>Vi er mange deltagere – husk å dempe mikrofonen. 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363335" y="969257"/>
            <a:ext cx="29036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93684-712F-5F99-31F4-F37CE3F468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31E3E-01D8-E81C-4DBC-163182A3C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MVA-koder på innkjøpsordre og inngående faktur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3C34A69-896C-6B74-CE01-5D4CD72A7171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endParaRPr lang="nb-NO"/>
          </a:p>
          <a:p>
            <a:r>
              <a:rPr lang="nb-NO"/>
              <a:t>Faktura/varemottak: Det holder med én linje per </a:t>
            </a:r>
            <a:r>
              <a:rPr lang="nb-NO" err="1"/>
              <a:t>mva</a:t>
            </a:r>
            <a:r>
              <a:rPr lang="nb-NO"/>
              <a:t>-kode</a:t>
            </a:r>
          </a:p>
          <a:p>
            <a:r>
              <a:rPr lang="nb-NO"/>
              <a:t>F.eks.: Hotell/konferan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5246B80-24F7-ADC2-7EC9-8219020ACD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0171" y="1822782"/>
            <a:ext cx="3438026" cy="2292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4896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3C7C027D-5590-33B6-4B57-2B12346FEE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0743" y="852311"/>
            <a:ext cx="4833257" cy="4291189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B779C70E-6B5C-8AB0-77F7-4276BE9E2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/>
          <a:p>
            <a:r>
              <a:rPr lang="nb-NO"/>
              <a:t>Case Si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41E41CC1-5C39-25BC-A7A0-32B888D1C5F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20000"/>
          </a:bodyPr>
          <a:lstStyle/>
          <a:p>
            <a:endParaRPr lang="en-US" sz="2000"/>
          </a:p>
          <a:p>
            <a:endParaRPr lang="en-US" sz="2000"/>
          </a:p>
          <a:p>
            <a:endParaRPr lang="en-US" sz="2000"/>
          </a:p>
          <a:p>
            <a:endParaRPr lang="en-US" sz="2000"/>
          </a:p>
          <a:p>
            <a:endParaRPr lang="en-US" sz="2000"/>
          </a:p>
          <a:p>
            <a:endParaRPr lang="nb-NO" sz="2000"/>
          </a:p>
          <a:p>
            <a:r>
              <a:rPr lang="nb-NO" sz="2000"/>
              <a:t>X1 = 25% “spise her”</a:t>
            </a:r>
          </a:p>
          <a:p>
            <a:r>
              <a:rPr lang="nb-NO" sz="2000"/>
              <a:t>X2 = 15% “ta med”</a:t>
            </a:r>
          </a:p>
          <a:p>
            <a:r>
              <a:rPr lang="nb-NO" sz="2000"/>
              <a:t>Velge riktig på </a:t>
            </a:r>
            <a:r>
              <a:rPr lang="nb-NO" sz="2000" err="1"/>
              <a:t>SiT</a:t>
            </a:r>
            <a:r>
              <a:rPr lang="nb-NO" sz="2000"/>
              <a:t>-katalogens første side</a:t>
            </a:r>
          </a:p>
          <a:p>
            <a:r>
              <a:rPr lang="nb-NO" sz="2000"/>
              <a:t>Buffet er ikke tilgjengelig for “ta med”</a:t>
            </a:r>
          </a:p>
          <a:p>
            <a:endParaRPr lang="nb-NO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5D9C90D-EBA4-5506-D6D9-A3A6576D50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" y="1066800"/>
            <a:ext cx="3457575" cy="15049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2DA007-E6EB-55D8-D0CA-A1F75BF75D10}"/>
              </a:ext>
            </a:extLst>
          </p:cNvPr>
          <p:cNvSpPr txBox="1"/>
          <p:nvPr/>
        </p:nvSpPr>
        <p:spPr>
          <a:xfrm>
            <a:off x="3973606" y="46972"/>
            <a:ext cx="5116605" cy="738664"/>
          </a:xfrm>
          <a:prstGeom prst="rect">
            <a:avLst/>
          </a:prstGeom>
          <a:solidFill>
            <a:srgbClr val="BBAC76"/>
          </a:solidFill>
        </p:spPr>
        <p:txBody>
          <a:bodyPr wrap="square" rtlCol="0">
            <a:spAutoFit/>
          </a:bodyPr>
          <a:lstStyle/>
          <a:p>
            <a:r>
              <a:rPr lang="nb-NO" sz="1400"/>
              <a:t>Har varslet SIT om denne, men dere må ta kontakt med SIT hvis slike feil oppdages (med </a:t>
            </a:r>
            <a:r>
              <a:rPr lang="nb-NO" sz="1400" err="1"/>
              <a:t>fakturanr</a:t>
            </a:r>
            <a:r>
              <a:rPr lang="nb-NO" sz="1400"/>
              <a:t>., </a:t>
            </a:r>
            <a:r>
              <a:rPr lang="nb-NO" sz="1400" err="1"/>
              <a:t>ordrenr</a:t>
            </a:r>
            <a:r>
              <a:rPr lang="nb-NO" sz="1400"/>
              <a:t>.). De får ikke sjekket uten å vite hvilken ordre og faktura det gjelder.</a:t>
            </a:r>
          </a:p>
        </p:txBody>
      </p:sp>
    </p:spTree>
    <p:extLst>
      <p:ext uri="{BB962C8B-B14F-4D97-AF65-F5344CB8AC3E}">
        <p14:creationId xmlns:p14="http://schemas.microsoft.com/office/powerpoint/2010/main" val="5026867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AA89AAAB-C951-A6DA-1135-CBD505B8A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Spørsmål fra </a:t>
            </a:r>
            <a:r>
              <a:rPr lang="nb-NO" sz="3600" err="1"/>
              <a:t>Menti</a:t>
            </a:r>
            <a:endParaRPr lang="nb-NO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AC85E9C3-FD96-966E-F783-B7AB8B7CBD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59878" y="1200151"/>
            <a:ext cx="5126922" cy="3394472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265" indent="-342265"/>
            <a:r>
              <a:rPr lang="nb-NO" sz="1600"/>
              <a:t>SINTEF som leverandør er ansvarlig for å beregne korrekt utgående mva på faktura til NTNU.</a:t>
            </a:r>
            <a:endParaRPr lang="en-US"/>
          </a:p>
          <a:p>
            <a:pPr marL="342265" indent="-342265"/>
            <a:r>
              <a:rPr lang="nb-NO" sz="1600"/>
              <a:t>I utgangspunktet skal SINTEF beregne utgående mva på faktura dersom ikke varen/tjenesten er fritatt eller unntatt merverdiavgift i mva-loven. Dette kan være kjøp av helsetjenester, undervisningstjenester (unntatt).  Mva på husleie avhenger av SINTEF sin </a:t>
            </a:r>
            <a:r>
              <a:rPr lang="nb-NO" sz="1600" err="1"/>
              <a:t>merverdiavgiftsregistrering</a:t>
            </a:r>
            <a:r>
              <a:rPr lang="nb-NO" sz="1600"/>
              <a:t> for frivillig registrering av utleie av bygg.</a:t>
            </a:r>
          </a:p>
          <a:p>
            <a:pPr marL="342265" indent="-342265"/>
            <a:r>
              <a:rPr lang="nb-NO" sz="1600"/>
              <a:t>Dersom NTNU er i tvil om SINTEF sin </a:t>
            </a:r>
            <a:r>
              <a:rPr lang="nb-NO" sz="1600" err="1"/>
              <a:t>avgiftsvurdering</a:t>
            </a:r>
            <a:r>
              <a:rPr lang="nb-NO" sz="1600"/>
              <a:t>, bør NTNU ta kontakt med SINTEF for avklaring slik at det ikke er misforståelser i forhold til avtale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C5B8F6A1-C566-FEC2-75DB-44C622ABAE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200151"/>
            <a:ext cx="2996179" cy="193983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268401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5408457-19BA-CDBF-A410-0A18933D65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Spørsmål fra </a:t>
            </a:r>
            <a:r>
              <a:rPr lang="nb-NO" sz="3600" err="1"/>
              <a:t>Menti</a:t>
            </a:r>
            <a:endParaRPr lang="nb-NO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5EA621ED-0986-31E0-494B-670FB898EDFB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342265" indent="-342265"/>
            <a:r>
              <a:rPr lang="nb-NO" sz="2000"/>
              <a:t>Her mener man vel innleie av arbeidskraft.</a:t>
            </a:r>
            <a:endParaRPr lang="en-US" sz="2000"/>
          </a:p>
          <a:p>
            <a:pPr marL="342265" indent="-342265"/>
            <a:r>
              <a:rPr lang="nb-NO" sz="2000" err="1"/>
              <a:t>Inng</a:t>
            </a:r>
            <a:r>
              <a:rPr lang="nb-NO" sz="2000"/>
              <a:t>. faktura på innleie av arbeidskraft vil være avgiftspliktig</a:t>
            </a:r>
          </a:p>
          <a:p>
            <a:pPr marL="342265" indent="-342265"/>
            <a:r>
              <a:rPr lang="nb-NO" sz="2000"/>
              <a:t>Innleie av arbeidskraft skal konteres i kontoklasse 67xx – </a:t>
            </a:r>
            <a:r>
              <a:rPr lang="nb-NO" sz="2000" i="1"/>
              <a:t>Kjøp av konsulenttjenester og andre fremmede tjenester </a:t>
            </a:r>
            <a:r>
              <a:rPr lang="nb-NO" sz="2000"/>
              <a:t>ut fra hvilken tjeneste NTNU får levert.</a:t>
            </a:r>
          </a:p>
          <a:p>
            <a:pPr marL="742315" lvl="1" indent="-285115">
              <a:buFont typeface="Courier New"/>
              <a:buChar char="o"/>
            </a:pPr>
            <a:r>
              <a:rPr lang="nb-NO" sz="1600"/>
              <a:t>Se beskrivelsesfeltet i kontoplanen for riktig bruk av konto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8AEC88-114A-4809-52AC-444FF13B70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200151"/>
            <a:ext cx="4106891" cy="2129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1066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09E94E-FBF5-F999-4F57-122CF8F46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Spørsmål fra </a:t>
            </a:r>
            <a:r>
              <a:rPr lang="nb-NO" sz="3600" err="1"/>
              <a:t>Menti</a:t>
            </a:r>
            <a:endParaRPr lang="nb-NO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96E04A6-955C-6D7B-6113-257084A5BC2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62500" lnSpcReduction="20000"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en-US" sz="3500" err="1">
                <a:cs typeface="Arial"/>
              </a:rPr>
              <a:t>Hva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betaler</a:t>
            </a:r>
            <a:r>
              <a:rPr lang="en-US" sz="3500">
                <a:cs typeface="Arial"/>
              </a:rPr>
              <a:t> NTNU for? 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3500" err="1">
                <a:cs typeface="Arial"/>
              </a:rPr>
              <a:t>Utgangspunktet</a:t>
            </a:r>
            <a:r>
              <a:rPr lang="en-US" sz="3500">
                <a:cs typeface="Arial"/>
              </a:rPr>
              <a:t> er at </a:t>
            </a:r>
            <a:r>
              <a:rPr lang="en-US" sz="3500" err="1">
                <a:cs typeface="Arial"/>
              </a:rPr>
              <a:t>leverandøren</a:t>
            </a:r>
            <a:r>
              <a:rPr lang="en-US" sz="3500">
                <a:cs typeface="Arial"/>
              </a:rPr>
              <a:t> sender faktura </a:t>
            </a:r>
            <a:r>
              <a:rPr lang="en-US" sz="3500" err="1">
                <a:cs typeface="Arial"/>
              </a:rPr>
              <a:t>til</a:t>
            </a:r>
            <a:r>
              <a:rPr lang="en-US" sz="3500">
                <a:cs typeface="Arial"/>
              </a:rPr>
              <a:t> NTNU </a:t>
            </a:r>
            <a:r>
              <a:rPr lang="en-US" sz="3500" err="1">
                <a:cs typeface="Arial"/>
              </a:rPr>
              <a:t>før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utbetaling</a:t>
            </a:r>
            <a:r>
              <a:rPr lang="en-US" sz="3500">
                <a:cs typeface="Arial"/>
              </a:rPr>
              <a:t> .  </a:t>
            </a:r>
          </a:p>
          <a:p>
            <a:endParaRPr lang="en-US" sz="3500">
              <a:cs typeface="Arial"/>
            </a:endParaRPr>
          </a:p>
          <a:p>
            <a:r>
              <a:rPr lang="en-US" sz="3500" err="1">
                <a:cs typeface="Arial"/>
              </a:rPr>
              <a:t>Når</a:t>
            </a:r>
            <a:r>
              <a:rPr lang="en-US" sz="3500">
                <a:cs typeface="Arial"/>
              </a:rPr>
              <a:t> det </a:t>
            </a:r>
            <a:r>
              <a:rPr lang="en-US" sz="3500" err="1">
                <a:cs typeface="Arial"/>
              </a:rPr>
              <a:t>gjelder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vurdering</a:t>
            </a:r>
            <a:r>
              <a:rPr lang="en-US" sz="3500">
                <a:cs typeface="Arial"/>
              </a:rPr>
              <a:t> av </a:t>
            </a:r>
            <a:r>
              <a:rPr lang="en-US" sz="3500" err="1">
                <a:cs typeface="Arial"/>
              </a:rPr>
              <a:t>mva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vil</a:t>
            </a:r>
            <a:r>
              <a:rPr lang="en-US" sz="3500">
                <a:cs typeface="Arial"/>
              </a:rPr>
              <a:t> det </a:t>
            </a:r>
            <a:r>
              <a:rPr lang="en-US" sz="3500" err="1">
                <a:cs typeface="Arial"/>
              </a:rPr>
              <a:t>være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en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individuell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vurdering</a:t>
            </a:r>
            <a:r>
              <a:rPr lang="en-US" sz="3500">
                <a:cs typeface="Arial"/>
              </a:rPr>
              <a:t> i forhold </a:t>
            </a:r>
            <a:r>
              <a:rPr lang="en-US" sz="3500" err="1">
                <a:cs typeface="Arial"/>
              </a:rPr>
              <a:t>til</a:t>
            </a:r>
            <a:r>
              <a:rPr lang="en-US" sz="3500">
                <a:cs typeface="Arial"/>
              </a:rPr>
              <a:t> den </a:t>
            </a:r>
            <a:r>
              <a:rPr lang="en-US" sz="3500" err="1">
                <a:cs typeface="Arial"/>
              </a:rPr>
              <a:t>vare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eller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tjeneste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som</a:t>
            </a:r>
            <a:r>
              <a:rPr lang="en-US" sz="3500">
                <a:cs typeface="Arial"/>
              </a:rPr>
              <a:t> </a:t>
            </a:r>
            <a:r>
              <a:rPr lang="en-US" sz="3500" err="1">
                <a:cs typeface="Arial"/>
              </a:rPr>
              <a:t>leveres</a:t>
            </a:r>
            <a:r>
              <a:rPr lang="en-US" sz="3500">
                <a:cs typeface="Arial"/>
              </a:rPr>
              <a:t>.</a:t>
            </a:r>
            <a:endParaRPr lang="en-US" sz="3500"/>
          </a:p>
          <a:p>
            <a:endParaRPr lang="nb-NO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E67B0AF-7AEE-BCAB-0A2C-012A2AE957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200151"/>
            <a:ext cx="3836152" cy="2304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2902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FA7C0F-98F9-6B5B-F95D-4A22E7188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Spørsmål fra </a:t>
            </a:r>
            <a:r>
              <a:rPr lang="nb-NO" sz="3600" err="1"/>
              <a:t>Menti</a:t>
            </a:r>
            <a:endParaRPr lang="nb-NO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118D0BC-1292-F4B7-5190-C99AD9042C8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53191" y="1200151"/>
            <a:ext cx="4533609" cy="3394472"/>
          </a:xfrm>
        </p:spPr>
        <p:txBody>
          <a:bodyPr>
            <a:normAutofit fontScale="62500" lnSpcReduction="20000"/>
          </a:bodyPr>
          <a:lstStyle/>
          <a:p>
            <a:r>
              <a:rPr lang="nb-NO"/>
              <a:t>Dette er en utenlandsk leverandør, uten norsk mva-registrering, som  leverer varer til Norge.</a:t>
            </a:r>
          </a:p>
          <a:p>
            <a:r>
              <a:rPr lang="nb-NO"/>
              <a:t>Leverandøren har norsk bankkonto og er derfor registrert som «innland». </a:t>
            </a:r>
          </a:p>
          <a:p>
            <a:r>
              <a:rPr lang="nb-NO"/>
              <a:t>Som vanlig på utenlandske leverandører, vil faktura være merket med 0% VAT.</a:t>
            </a:r>
          </a:p>
          <a:p>
            <a:r>
              <a:rPr lang="nb-NO"/>
              <a:t>MVA-koder for </a:t>
            </a:r>
            <a:r>
              <a:rPr lang="nb-NO" b="1"/>
              <a:t>utland</a:t>
            </a:r>
            <a:r>
              <a:rPr lang="nb-NO"/>
              <a:t> er riktig.</a:t>
            </a:r>
          </a:p>
          <a:p>
            <a:r>
              <a:rPr lang="nb-NO"/>
              <a:t>Vanlige koder vil være 20 (varer med 25% mva), 23 (varer </a:t>
            </a:r>
            <a:r>
              <a:rPr lang="nb-NO" i="1"/>
              <a:t>fritatt</a:t>
            </a:r>
            <a:r>
              <a:rPr lang="nb-NO"/>
              <a:t> mva, hvis dere har fritak for biologisk materiale f.eks.).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4DEE857-D3B9-082C-1B09-DE7D8DBA1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199" y="1200150"/>
            <a:ext cx="3590737" cy="2478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440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E4654-CB80-A555-A448-51A203D0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AE17A00F-E0D6-2F77-2365-621A568BD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4796816"/>
              </p:ext>
            </p:extLst>
          </p:nvPr>
        </p:nvGraphicFramePr>
        <p:xfrm>
          <a:off x="409649" y="994347"/>
          <a:ext cx="7476357" cy="2958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7635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</a:t>
                      </a: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Tema for møtet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MVA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Anlegg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For BtB-prosesse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8223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Hvor kan du finne mer informasjo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Opplær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Brukerstøt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  <a:tr h="3984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/>
                        <a:t>Spørsmål og sv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14483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98744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7CB1D9-6B48-2BE3-91F5-5A0BADF12A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23587A3-0342-3D79-5EEC-91C595CC25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9213" y="2248694"/>
            <a:ext cx="3780418" cy="646331"/>
          </a:xfrm>
        </p:spPr>
        <p:txBody>
          <a:bodyPr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nb-NO" sz="3100"/>
              <a:t>Kort benstrekk – </a:t>
            </a:r>
            <a:br>
              <a:rPr lang="nb-NO" sz="3100"/>
            </a:br>
            <a:r>
              <a:rPr lang="nb-NO" sz="3100"/>
              <a:t>5 min</a:t>
            </a:r>
            <a:br>
              <a:rPr lang="nb-NO" sz="2000"/>
            </a:br>
            <a:endParaRPr lang="nb-NO" sz="2000"/>
          </a:p>
        </p:txBody>
      </p:sp>
      <p:pic>
        <p:nvPicPr>
          <p:cNvPr id="3" name="Graphic 2" descr="Coffee outline">
            <a:extLst>
              <a:ext uri="{FF2B5EF4-FFF2-40B4-BE49-F238E27FC236}">
                <a16:creationId xmlns:a16="http://schemas.microsoft.com/office/drawing/2014/main" id="{7EEF0B04-CA2B-6D11-EAE5-0AA3CF1CEA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52224" y="2053857"/>
            <a:ext cx="1624362" cy="1624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50251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B9F311C-0159-A770-8919-8E99DB3606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8203" y="2248694"/>
            <a:ext cx="3591427" cy="646331"/>
          </a:xfrm>
        </p:spPr>
        <p:txBody>
          <a:bodyPr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nb-NO" sz="3100"/>
              <a:t>Anleggsmidler</a:t>
            </a:r>
            <a:br>
              <a:rPr lang="nb-NO" sz="2000"/>
            </a:br>
            <a:endParaRPr lang="nb-NO" sz="20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4C5140-2FF6-5C4C-68C5-6F9F1C7CA1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96016" y="1217678"/>
            <a:ext cx="2725200" cy="2715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4190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1FADEC-5103-F6EB-4774-37950A3E2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112" y="387684"/>
            <a:ext cx="7792743" cy="523876"/>
          </a:xfrm>
        </p:spPr>
        <p:txBody>
          <a:bodyPr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err="1"/>
              <a:t>Begreper</a:t>
            </a:r>
            <a:r>
              <a:rPr lang="en-US"/>
              <a:t> / </a:t>
            </a:r>
            <a:r>
              <a:rPr lang="en-US" err="1"/>
              <a:t>terminologi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3E001BE3-3FFB-8142-4240-BD0FD88CFC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6528" y="1004265"/>
            <a:ext cx="6521776" cy="3506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85195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05A046F-C2A3-4431-9059-86CB6D68D8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05A046F-C2A3-4431-9059-86CB6D68D8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794632-94F0-451D-972B-025EC8E86D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pørsmål og svar</a:t>
            </a:r>
          </a:p>
        </p:txBody>
      </p:sp>
      <p:pic>
        <p:nvPicPr>
          <p:cNvPr id="4" name="Graphic 3" descr="Questions with solid fill">
            <a:extLst>
              <a:ext uri="{FF2B5EF4-FFF2-40B4-BE49-F238E27FC236}">
                <a16:creationId xmlns:a16="http://schemas.microsoft.com/office/drawing/2014/main" id="{E1926C42-1E95-42F2-92E2-23C6EC6ECC5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948794" y="1125958"/>
            <a:ext cx="3322502" cy="332250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13F58B-14C9-8BC6-7959-E28EDE9CCABB}"/>
              </a:ext>
            </a:extLst>
          </p:cNvPr>
          <p:cNvSpPr txBox="1"/>
          <p:nvPr/>
        </p:nvSpPr>
        <p:spPr>
          <a:xfrm>
            <a:off x="439200" y="1728000"/>
            <a:ext cx="3614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/>
              <a:t>Gå til menti.com</a:t>
            </a:r>
          </a:p>
          <a:p>
            <a:endParaRPr lang="nb-NO" sz="3200"/>
          </a:p>
          <a:p>
            <a:r>
              <a:rPr lang="nb-NO" sz="3200"/>
              <a:t>Kode: </a:t>
            </a:r>
            <a:r>
              <a:rPr lang="nb-NO" sz="3200" b="1">
                <a:effectLst/>
                <a:ea typeface="Calibri" panose="020F0502020204030204" pitchFamily="34" charset="0"/>
              </a:rPr>
              <a:t>3758 7694</a:t>
            </a:r>
            <a:endParaRPr lang="nb-NO" sz="3200" b="1"/>
          </a:p>
        </p:txBody>
      </p:sp>
    </p:spTree>
    <p:extLst>
      <p:ext uri="{BB962C8B-B14F-4D97-AF65-F5344CB8AC3E}">
        <p14:creationId xmlns:p14="http://schemas.microsoft.com/office/powerpoint/2010/main" val="39392562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101583-A5DF-8A53-C28E-0185D51A07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Kostnad</a:t>
            </a:r>
            <a:r>
              <a:rPr lang="en-US"/>
              <a:t> vs </a:t>
            </a:r>
            <a:r>
              <a:rPr lang="en-US" err="1"/>
              <a:t>Investering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A6FF9D68-98BA-5225-7C6A-B7125454436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08916" y="1110052"/>
            <a:ext cx="4344218" cy="3613774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5115F49-9495-7657-EA27-C634AD2EE2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423" y="1048263"/>
            <a:ext cx="4348082" cy="367354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3DF9DA4-EB05-93DD-706B-CCCBCC99F5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7702" y="3510718"/>
            <a:ext cx="4430270" cy="110549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FA0E462-FB66-62DA-3FAC-22D2E7BFF8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0" y="3400488"/>
            <a:ext cx="668857" cy="132595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45F75EB-316E-44EB-C7C4-FABCF530E18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7072" y="3138577"/>
            <a:ext cx="742950" cy="4191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DF6022-35EC-7876-6421-CD0DDB970D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5196" y="2770517"/>
            <a:ext cx="1787645" cy="734683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FBAEA478-5CD6-384B-05EF-10D21A37C2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009786"/>
              </p:ext>
            </p:extLst>
          </p:nvPr>
        </p:nvGraphicFramePr>
        <p:xfrm>
          <a:off x="5633357" y="3480026"/>
          <a:ext cx="3130555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30555">
                  <a:extLst>
                    <a:ext uri="{9D8B030D-6E8A-4147-A177-3AD203B41FA5}">
                      <a16:colId xmlns:a16="http://schemas.microsoft.com/office/drawing/2014/main" val="2207014275"/>
                    </a:ext>
                  </a:extLst>
                </a:gridCol>
              </a:tblGrid>
              <a:tr h="771919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chemeClr val="tx1"/>
                          </a:solidFill>
                        </a:rPr>
                        <a:t>Kontering av faktura på investering er i balansen på 1xxx - konti</a:t>
                      </a:r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44753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276906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5C6CF61-1192-9997-9982-DD2A9D05C6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6444" y="401411"/>
            <a:ext cx="8371762" cy="523876"/>
          </a:xfrm>
        </p:spPr>
        <p:txBody>
          <a:bodyPr/>
          <a:lstStyle/>
          <a:p>
            <a:r>
              <a:rPr lang="en-US"/>
              <a:t>Typer </a:t>
            </a:r>
            <a:r>
              <a:rPr lang="en-US" err="1"/>
              <a:t>anleggsmidler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leveti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393A376-54E0-9880-E980-7499A7F976B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84648" y="1060847"/>
            <a:ext cx="8153134" cy="3509240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9DD5C3-66ED-E17C-56F6-604002393A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4026" y="1926415"/>
            <a:ext cx="6531429" cy="2647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422514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D68EB8-9990-E9E7-FC88-0D196EEA49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274" y="460577"/>
            <a:ext cx="8229600" cy="646331"/>
          </a:xfrm>
        </p:spPr>
        <p:txBody>
          <a:bodyPr anchor="t">
            <a:normAutofit/>
          </a:bodyPr>
          <a:lstStyle/>
          <a:p>
            <a:r>
              <a:rPr lang="en-US" err="1"/>
              <a:t>Vedlikehold</a:t>
            </a:r>
            <a:r>
              <a:rPr lang="en-US"/>
              <a:t> vs </a:t>
            </a:r>
            <a:r>
              <a:rPr lang="en-US" err="1"/>
              <a:t>Påkostning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en-US"/>
              <a:t> bygg</a:t>
            </a:r>
            <a:endParaRPr lang="en-US" err="1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E486BC3-2725-1594-E0B0-BDB73E35EE0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457200" y="1237528"/>
            <a:ext cx="4038600" cy="3319718"/>
          </a:xfrm>
        </p:spPr>
      </p:pic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4158E6A-6D76-C89E-0BB6-627CF24EF8AE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535249" y="3047581"/>
            <a:ext cx="4303939" cy="1508849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43A651B-E4B5-E370-8017-E862710DE7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2560" y="1240047"/>
            <a:ext cx="3909844" cy="3334061"/>
          </a:xfrm>
          <a:prstGeom prst="rect">
            <a:avLst/>
          </a:prstGeom>
        </p:spPr>
      </p:pic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4E15F5B5-A894-1072-F32B-13EC5CAF90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814488"/>
              </p:ext>
            </p:extLst>
          </p:nvPr>
        </p:nvGraphicFramePr>
        <p:xfrm>
          <a:off x="5755821" y="3388178"/>
          <a:ext cx="272484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4840">
                  <a:extLst>
                    <a:ext uri="{9D8B030D-6E8A-4147-A177-3AD203B41FA5}">
                      <a16:colId xmlns:a16="http://schemas.microsoft.com/office/drawing/2014/main" val="3228230844"/>
                    </a:ext>
                  </a:extLst>
                </a:gridCol>
              </a:tblGrid>
              <a:tr h="632533">
                <a:tc>
                  <a:txBody>
                    <a:bodyPr/>
                    <a:lstStyle/>
                    <a:p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Kontering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 av faktura 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på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 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påkostning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 er 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i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 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balansen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på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 113x – </a:t>
                      </a:r>
                      <a:r>
                        <a:rPr lang="en-US" sz="1600" b="0" err="1">
                          <a:solidFill>
                            <a:schemeClr val="tx1"/>
                          </a:solidFill>
                        </a:rPr>
                        <a:t>konti</a:t>
                      </a: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 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39789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37541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03C336B-4294-A449-E96A-50FD7D33A8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4890" y="622462"/>
            <a:ext cx="8396002" cy="3613774"/>
          </a:xfr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AFB01DC-7616-8CBB-9558-3E20634150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116" y="1933540"/>
            <a:ext cx="5932035" cy="2445205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A79D615-D81F-5D68-7547-560CEEF1E6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1642167"/>
              </p:ext>
            </p:extLst>
          </p:nvPr>
        </p:nvGraphicFramePr>
        <p:xfrm>
          <a:off x="6527131" y="1910013"/>
          <a:ext cx="2488704" cy="24815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8704">
                  <a:extLst>
                    <a:ext uri="{9D8B030D-6E8A-4147-A177-3AD203B41FA5}">
                      <a16:colId xmlns:a16="http://schemas.microsoft.com/office/drawing/2014/main" val="985290777"/>
                    </a:ext>
                  </a:extLst>
                </a:gridCol>
              </a:tblGrid>
              <a:tr h="2481513">
                <a:tc>
                  <a:txBody>
                    <a:bodyPr/>
                    <a:lstStyle/>
                    <a:p>
                      <a:r>
                        <a:rPr lang="en-US" b="0">
                          <a:solidFill>
                            <a:schemeClr val="tx1"/>
                          </a:solidFill>
                        </a:rPr>
                        <a:t>Obs!</a:t>
                      </a:r>
                      <a:endParaRPr lang="en-US"/>
                    </a:p>
                    <a:p>
                      <a:pPr lvl="0">
                        <a:buNone/>
                      </a:pPr>
                      <a:endParaRPr lang="en-US" b="0">
                        <a:solidFill>
                          <a:schemeClr val="tx1"/>
                        </a:solidFill>
                      </a:endParaRPr>
                    </a:p>
                    <a:p>
                      <a:pPr lvl="0">
                        <a:buNone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Bygg nr X0*(Diverse) kan brukes kun på konto 1137(utendørs arbeid). </a:t>
                      </a:r>
                    </a:p>
                    <a:p>
                      <a:pPr lvl="0">
                        <a:buNone/>
                      </a:pPr>
                      <a:endParaRPr lang="en-US" sz="1600" b="0">
                        <a:solidFill>
                          <a:schemeClr val="tx1"/>
                        </a:solidFill>
                      </a:endParaRPr>
                    </a:p>
                    <a:p>
                      <a:pPr lvl="0">
                        <a:buNone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</a:rPr>
                        <a:t>På øvrige kontoer skal det registreres bygg nr W0* i DIM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25423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4575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1463D74A-01D0-0D32-39DE-2F3BDC980C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13" y="198043"/>
            <a:ext cx="8229600" cy="646331"/>
          </a:xfrm>
        </p:spPr>
        <p:txBody>
          <a:bodyPr anchor="t">
            <a:normAutofit/>
          </a:bodyPr>
          <a:lstStyle/>
          <a:p>
            <a:r>
              <a:rPr lang="en-US" err="1"/>
              <a:t>Beskrivelser</a:t>
            </a:r>
            <a:r>
              <a:rPr lang="en-US"/>
              <a:t> av </a:t>
            </a:r>
            <a:r>
              <a:rPr lang="en-US" err="1"/>
              <a:t>relasjoner</a:t>
            </a:r>
            <a:endParaRPr lang="en-US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BC8DF303-521C-EEFE-5E2B-91D7D3797F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246729" y="1160985"/>
            <a:ext cx="3497550" cy="336051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endParaRPr lang="en-US" sz="1400"/>
          </a:p>
          <a:p>
            <a:pPr>
              <a:buFont typeface="Wingdings" panose="05000000000000000000" pitchFamily="2" charset="2"/>
              <a:buChar char="ü"/>
            </a:pPr>
            <a:r>
              <a:rPr lang="en-US" sz="1400" err="1"/>
              <a:t>Plassering</a:t>
            </a:r>
            <a:r>
              <a:rPr lang="en-US" sz="1400"/>
              <a:t> er </a:t>
            </a:r>
            <a:r>
              <a:rPr lang="en-US" sz="1400" err="1"/>
              <a:t>ikke</a:t>
            </a:r>
            <a:r>
              <a:rPr lang="en-US" sz="1400"/>
              <a:t> det samme </a:t>
            </a:r>
            <a:r>
              <a:rPr lang="en-US" sz="1400" err="1"/>
              <a:t>som</a:t>
            </a:r>
            <a:r>
              <a:rPr lang="en-US" sz="1400"/>
              <a:t> </a:t>
            </a:r>
            <a:r>
              <a:rPr lang="en-US" sz="1400" err="1">
                <a:solidFill>
                  <a:srgbClr val="FF0000"/>
                </a:solidFill>
              </a:rPr>
              <a:t>Byggnummer</a:t>
            </a:r>
            <a:r>
              <a:rPr lang="en-US" sz="1400">
                <a:solidFill>
                  <a:srgbClr val="FF0000"/>
                </a:solidFill>
              </a:rPr>
              <a:t> (DIM7)  </a:t>
            </a:r>
          </a:p>
          <a:p>
            <a:pPr marL="0" indent="0">
              <a:buNone/>
            </a:pPr>
            <a:endParaRPr lang="en-US" sz="140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40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en-US" sz="1400" err="1"/>
              <a:t>Plassering</a:t>
            </a:r>
            <a:r>
              <a:rPr lang="en-US" sz="1400"/>
              <a:t> </a:t>
            </a:r>
            <a:r>
              <a:rPr lang="en-US" sz="1400" err="1"/>
              <a:t>består</a:t>
            </a:r>
            <a:r>
              <a:rPr lang="en-US" sz="1400"/>
              <a:t> av </a:t>
            </a:r>
            <a:r>
              <a:rPr lang="en-US" sz="1400" err="1"/>
              <a:t>bygg</a:t>
            </a:r>
            <a:r>
              <a:rPr lang="en-US" sz="1400"/>
              <a:t> og etasje</a:t>
            </a:r>
          </a:p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endParaRPr lang="en-US" sz="1400"/>
          </a:p>
          <a:p>
            <a:pPr marL="0" indent="0">
              <a:buNone/>
            </a:pPr>
            <a:endParaRPr lang="en-US" sz="140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4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40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40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sz="1400">
              <a:solidFill>
                <a:srgbClr val="FF0000"/>
              </a:solidFill>
            </a:endParaRPr>
          </a:p>
        </p:txBody>
      </p:sp>
      <p:pic>
        <p:nvPicPr>
          <p:cNvPr id="6" name="Plassholder for innhold 5">
            <a:extLst>
              <a:ext uri="{FF2B5EF4-FFF2-40B4-BE49-F238E27FC236}">
                <a16:creationId xmlns:a16="http://schemas.microsoft.com/office/drawing/2014/main" id="{58120EDD-1219-2256-C69F-31F9427F753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738456" y="751926"/>
            <a:ext cx="3935144" cy="3842300"/>
          </a:xfr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7B173F58-6737-86B5-1477-EE8BF27650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1072" y="2841241"/>
            <a:ext cx="3464961" cy="125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5412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FBD8509-EA64-7732-4B99-1A78EB048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 wrap="square" anchor="t">
            <a:normAutofit/>
          </a:bodyPr>
          <a:lstStyle/>
          <a:p>
            <a:r>
              <a:rPr lang="nb-NO"/>
              <a:t>Obligatoriske relasjoner</a:t>
            </a:r>
          </a:p>
        </p:txBody>
      </p:sp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C1367DA1-1061-211F-CEBC-826AD4C03D5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46410" y="1010266"/>
            <a:ext cx="7528697" cy="3613774"/>
          </a:xfrm>
          <a:noFill/>
        </p:spPr>
      </p:pic>
    </p:spTree>
    <p:extLst>
      <p:ext uri="{BB962C8B-B14F-4D97-AF65-F5344CB8AC3E}">
        <p14:creationId xmlns:p14="http://schemas.microsoft.com/office/powerpoint/2010/main" val="176209120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026E6-D5C8-3E19-EADB-95ED1791B6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iktig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C13EF4-E706-22CA-63E7-1E390BD40B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2000" kern="10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Det er viktig at man alltid legger inn anleggsinfo ved å åpne denne dialogboksen, og aldri skriver direkte i feltet Dim 6 i konteringslinja. </a:t>
            </a:r>
            <a:endParaRPr lang="nb-NO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0CA916E6-AA5B-30E3-6C06-F982FF7AD5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5233" y="1691378"/>
            <a:ext cx="5213533" cy="2996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45341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448E83-81C7-51D9-FEB8-1AB8DF0AB0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402291"/>
          </a:xfrm>
        </p:spPr>
        <p:txBody>
          <a:bodyPr/>
          <a:lstStyle/>
          <a:p>
            <a:r>
              <a:rPr lang="nb-NO" sz="2000" b="0"/>
              <a:t>Ikke skriv i dette feltet! (den fyller seg ut automatisk ved «Tillegg til..»)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A84EC2FE-97DE-3BC6-1C75-43C075128BD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02089" y="1009650"/>
            <a:ext cx="6572770" cy="3118947"/>
          </a:xfrm>
        </p:spPr>
      </p:pic>
    </p:spTree>
    <p:extLst>
      <p:ext uri="{BB962C8B-B14F-4D97-AF65-F5344CB8AC3E}">
        <p14:creationId xmlns:p14="http://schemas.microsoft.com/office/powerpoint/2010/main" val="2265239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467D29-3C9F-4630-B195-B53AB942CE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Viktig</a:t>
            </a:r>
            <a:r>
              <a:rPr lang="en-US"/>
              <a:t> inf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10A0F-C285-0BBE-ECDE-ED7F664214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342265" indent="-342265"/>
            <a:r>
              <a:rPr lang="nb-NO"/>
              <a:t>Aktivering av tillegg - må ha samme kontering som opprinnelig anlegg </a:t>
            </a:r>
          </a:p>
          <a:p>
            <a:pPr marL="342265" indent="-342265"/>
            <a:r>
              <a:rPr lang="nb-NO"/>
              <a:t>Anlegg skal ha kun en eier (koststed, delprosjekt) - kostnaden kan deles av anleggshåndterer i etterkant på 9-serien</a:t>
            </a:r>
          </a:p>
        </p:txBody>
      </p:sp>
    </p:spTree>
    <p:extLst>
      <p:ext uri="{BB962C8B-B14F-4D97-AF65-F5344CB8AC3E}">
        <p14:creationId xmlns:p14="http://schemas.microsoft.com/office/powerpoint/2010/main" val="44855803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2331D1-346A-473E-14A2-D9079B873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nkjøpsordre med anlegg i Unit4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F88D7CD-359D-CE11-60C2-8438F0100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>
                <a:hlinkClick r:id="rId3"/>
              </a:rPr>
              <a:t>Ny rutine for anlegg i BtB</a:t>
            </a:r>
            <a:endParaRPr lang="nb-NO"/>
          </a:p>
          <a:p>
            <a:r>
              <a:rPr lang="nb-NO" b="1"/>
              <a:t>Ett anlegg = én ordrelinje </a:t>
            </a:r>
            <a:r>
              <a:rPr lang="nb-NO"/>
              <a:t>(summer alle varelinjene fra pristilbud/kontrakt som skal inngå i anlegget/føres på eiendelskonto (herunder selve varen/produktet, frakt, installasjon, opplæring mv.) (konto 1xxx).</a:t>
            </a:r>
          </a:p>
          <a:p>
            <a:r>
              <a:rPr lang="nb-NO"/>
              <a:t>Evt. serviceavtaler, forbruksmateriell og annet som skal kostnadsføres (konto 6xxx/7xxx), legges som separate varelinjer i rekvisisjonen.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883813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E4654-CB80-A555-A448-51A203D0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AE17A00F-E0D6-2F77-2365-621A568BD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7903208"/>
              </p:ext>
            </p:extLst>
          </p:nvPr>
        </p:nvGraphicFramePr>
        <p:xfrm>
          <a:off x="409649" y="994347"/>
          <a:ext cx="7476357" cy="2958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7635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</a:t>
                      </a: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- Tema for møtet </a:t>
                      </a: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/>
                        <a:t>MVA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/>
                        <a:t>Anlegg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8223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Hvor kan du finne mer informasjo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Opplær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Brukerstøt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  <a:tr h="3984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/>
                        <a:t>Spørsmål og sv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14483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754046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62E57B-8851-7F67-4900-E12EF449A2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nkjøpsordre med anleg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3F1317-C1AA-5222-769B-1347CCE851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Hvis det er avtalt delvis forskuddsbetaling, eller man forventer delleveranser og dermed delfaktureringer, </a:t>
            </a:r>
          </a:p>
          <a:p>
            <a:r>
              <a:rPr lang="nb-NO"/>
              <a:t>Benytt anleggskonto </a:t>
            </a:r>
            <a:r>
              <a:rPr lang="nb-NO" b="1"/>
              <a:t>1210</a:t>
            </a:r>
            <a:r>
              <a:rPr lang="nb-NO"/>
              <a:t> «Maskiner anlegg under utførelse» på innkjøpsordren/leverandørfaktura. </a:t>
            </a:r>
          </a:p>
          <a:p>
            <a:r>
              <a:rPr lang="nb-NO"/>
              <a:t>Kontoen benyttes frem til det tidspunkt maskinen/anlegget er fullt levert og tas i bruk. Dette fordi vi skal ikke avskrive før etter ferdigstillelse/ferdig levert. </a:t>
            </a:r>
          </a:p>
          <a:p>
            <a:r>
              <a:rPr lang="nb-NO"/>
              <a:t>Etter ferdigstillelse flyttes anlegget til riktig anleggsgruppe, av anleggshåndterer.</a:t>
            </a:r>
            <a:endParaRPr lang="nb-NO" strike="sngStrike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C734CB-B5DC-28C8-6CF2-E503B4B601F8}"/>
              </a:ext>
            </a:extLst>
          </p:cNvPr>
          <p:cNvSpPr txBox="1"/>
          <p:nvPr/>
        </p:nvSpPr>
        <p:spPr>
          <a:xfrm>
            <a:off x="6138582" y="78530"/>
            <a:ext cx="2951630" cy="738664"/>
          </a:xfrm>
          <a:prstGeom prst="rect">
            <a:avLst/>
          </a:prstGeom>
          <a:solidFill>
            <a:srgbClr val="BBAC76"/>
          </a:solidFill>
        </p:spPr>
        <p:txBody>
          <a:bodyPr wrap="square" rtlCol="0">
            <a:spAutoFit/>
          </a:bodyPr>
          <a:lstStyle/>
          <a:p>
            <a:r>
              <a:rPr lang="nb-NO" sz="1400"/>
              <a:t>MERK! Konto 1210 – da går rekvisisjon videre, ikke via komplettering av anleggsinfo.</a:t>
            </a:r>
          </a:p>
        </p:txBody>
      </p:sp>
    </p:spTree>
    <p:extLst>
      <p:ext uri="{BB962C8B-B14F-4D97-AF65-F5344CB8AC3E}">
        <p14:creationId xmlns:p14="http://schemas.microsoft.com/office/powerpoint/2010/main" val="151994127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E196B6F-6D6D-1E8C-CDEC-625A2D8899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5802" y="0"/>
            <a:ext cx="2764194" cy="51435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3572AB8-ED35-5286-BA77-22A2D0CC832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004" y="3105843"/>
            <a:ext cx="5874410" cy="1177982"/>
          </a:xfrm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4C75B2B-3F99-E309-7F59-141CDC4B45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Eksemp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D0C849-3223-D57D-3BA0-DD9C8984113C}"/>
              </a:ext>
            </a:extLst>
          </p:cNvPr>
          <p:cNvSpPr txBox="1"/>
          <p:nvPr/>
        </p:nvSpPr>
        <p:spPr>
          <a:xfrm>
            <a:off x="457200" y="927220"/>
            <a:ext cx="5581214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/>
              <a:t>Eks. på mottatt pristilbud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4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/>
              <a:t>Og hvordan det legges i Unit4</a:t>
            </a:r>
          </a:p>
          <a:p>
            <a:r>
              <a:rPr lang="nb-NO" sz="2000"/>
              <a:t>	Denne vil pga. konto 1205 på den ene linja, 	komme til «komplettering av anleggsinfo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400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AEC5843-30C6-161B-CDB4-D9535EDEBB48}"/>
              </a:ext>
            </a:extLst>
          </p:cNvPr>
          <p:cNvSpPr/>
          <p:nvPr/>
        </p:nvSpPr>
        <p:spPr>
          <a:xfrm>
            <a:off x="4362173" y="1058291"/>
            <a:ext cx="353914" cy="216327"/>
          </a:xfrm>
          <a:prstGeom prst="rightArrow">
            <a:avLst/>
          </a:prstGeom>
          <a:solidFill>
            <a:srgbClr val="BBAC76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844F5B8A-0687-6444-C5A1-907C25CB59CC}"/>
              </a:ext>
            </a:extLst>
          </p:cNvPr>
          <p:cNvSpPr/>
          <p:nvPr/>
        </p:nvSpPr>
        <p:spPr>
          <a:xfrm rot="5400000">
            <a:off x="5001576" y="1818779"/>
            <a:ext cx="353914" cy="216327"/>
          </a:xfrm>
          <a:prstGeom prst="rightArrow">
            <a:avLst/>
          </a:prstGeom>
          <a:solidFill>
            <a:srgbClr val="BBAC76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941527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E4654-CB80-A555-A448-51A203D0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AE17A00F-E0D6-2F77-2365-621A568BD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036208"/>
              </p:ext>
            </p:extLst>
          </p:nvPr>
        </p:nvGraphicFramePr>
        <p:xfrm>
          <a:off x="409649" y="994347"/>
          <a:ext cx="7476357" cy="2958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7635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</a:t>
                      </a: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Tema for møtet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MVA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Anlegg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8223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Hvor kan du finne mer informasjo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Opplær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Brukerstøtte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  <a:tr h="3984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/>
                        <a:t>Spørsmål og sv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14483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413272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6168BD-B005-8985-0EC3-AB066D4927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600"/>
              <a:t>Hvor kan du finne mer informasjon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A81E6E-1B36-B471-63DA-531CE933C0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1200" b="1">
                <a:latin typeface="+mn-lt"/>
                <a:hlinkClick r:id="rId3"/>
              </a:rPr>
              <a:t>BOTT-samarbeidet.no </a:t>
            </a:r>
            <a:r>
              <a:rPr lang="nb-NO" sz="1200">
                <a:latin typeface="+mn-lt"/>
              </a:rPr>
              <a:t>– Alt tilgjengelig materiale utarbeidet av BOTT. Inkluderer prosesskart, rutinebeskrivelse, rollebeskrivelser, lenker til e-læringskurs og brukerskjemaer </a:t>
            </a:r>
          </a:p>
          <a:p>
            <a:endParaRPr lang="nb-NO" sz="1200">
              <a:latin typeface="+mn-lt"/>
            </a:endParaRPr>
          </a:p>
          <a:p>
            <a:r>
              <a:rPr lang="nb-NO" sz="1200" b="1">
                <a:latin typeface="+mn-lt"/>
                <a:hlinkClick r:id="rId4"/>
              </a:rPr>
              <a:t>NTNU Intranettside for opplæring</a:t>
            </a:r>
            <a:r>
              <a:rPr lang="nb-NO" sz="1200">
                <a:latin typeface="+mn-lt"/>
              </a:rPr>
              <a:t> – Aktuell opplæring per rolle og info om registrering for e-læringskurs</a:t>
            </a:r>
          </a:p>
          <a:p>
            <a:endParaRPr lang="nb-NO" sz="1200">
              <a:latin typeface="+mn-lt"/>
            </a:endParaRPr>
          </a:p>
          <a:p>
            <a:r>
              <a:rPr lang="nb-NO" sz="1200" b="1">
                <a:latin typeface="+mn-lt"/>
                <a:hlinkClick r:id="rId5"/>
              </a:rPr>
              <a:t>NTNU Innsida-kanal BtB-informasjon </a:t>
            </a:r>
            <a:r>
              <a:rPr lang="nb-NO" sz="1200">
                <a:latin typeface="+mn-lt"/>
              </a:rPr>
              <a:t>– Oppfordrer sterkt alle med roller i BtB-prosessen til å følge denne!</a:t>
            </a:r>
          </a:p>
          <a:p>
            <a:endParaRPr lang="nb-NO" sz="1200">
              <a:latin typeface="+mn-lt"/>
            </a:endParaRPr>
          </a:p>
          <a:p>
            <a:r>
              <a:rPr lang="nb-NO" sz="1200" b="1">
                <a:latin typeface="+mn-lt"/>
                <a:hlinkClick r:id="rId6"/>
              </a:rPr>
              <a:t>Team for BtB Brukerstøtte og erfaringsutveksling </a:t>
            </a:r>
            <a:r>
              <a:rPr lang="nb-NO" sz="1200">
                <a:latin typeface="+mn-lt"/>
              </a:rPr>
              <a:t>– Erstatter brukerstøttechatten</a:t>
            </a:r>
          </a:p>
          <a:p>
            <a:endParaRPr lang="nb-NO" sz="1200">
              <a:latin typeface="+mn-lt"/>
            </a:endParaRPr>
          </a:p>
          <a:p>
            <a:r>
              <a:rPr lang="nb-NO" sz="1200" b="1">
                <a:latin typeface="+mn-lt"/>
                <a:hlinkClick r:id="rId7"/>
              </a:rPr>
              <a:t>MVA-koder – oversikt med forklaringer</a:t>
            </a:r>
            <a:endParaRPr lang="nb-NO" sz="1200" b="1">
              <a:latin typeface="+mn-lt"/>
            </a:endParaRPr>
          </a:p>
          <a:p>
            <a:endParaRPr lang="nb-NO" sz="1200">
              <a:latin typeface="+mn-lt"/>
            </a:endParaRPr>
          </a:p>
          <a:p>
            <a:r>
              <a:rPr lang="nb-NO" sz="1200" b="1">
                <a:latin typeface="+mn-lt"/>
                <a:hlinkClick r:id="rId8"/>
              </a:rPr>
              <a:t>Anleggsmidler</a:t>
            </a:r>
            <a:endParaRPr lang="nb-NO" sz="1200">
              <a:latin typeface="+mn-lt"/>
            </a:endParaRPr>
          </a:p>
          <a:p>
            <a:pPr marL="0" indent="0">
              <a:buNone/>
            </a:pPr>
            <a:endParaRPr lang="nb-NO" sz="1200">
              <a:latin typeface="+mn-lt"/>
            </a:endParaRPr>
          </a:p>
          <a:p>
            <a:r>
              <a:rPr lang="nb-NO" sz="1200">
                <a:latin typeface="+mn-lt"/>
              </a:rPr>
              <a:t>Spørsmål rettes til: </a:t>
            </a:r>
            <a:r>
              <a:rPr lang="nb-NO" sz="1200" b="0" i="0" u="sng">
                <a:solidFill>
                  <a:srgbClr val="0000FF"/>
                </a:solidFill>
                <a:effectLst/>
                <a:latin typeface="+mn-lt"/>
              </a:rPr>
              <a:t>kontakt@okavd.ntnu.no</a:t>
            </a:r>
            <a:endParaRPr lang="nb-NO" sz="1200">
              <a:latin typeface="+mn-lt"/>
            </a:endParaRPr>
          </a:p>
          <a:p>
            <a:endParaRPr lang="nb-NO"/>
          </a:p>
        </p:txBody>
      </p:sp>
      <p:pic>
        <p:nvPicPr>
          <p:cNvPr id="4" name="Graphic 3" descr="Information outline">
            <a:extLst>
              <a:ext uri="{FF2B5EF4-FFF2-40B4-BE49-F238E27FC236}">
                <a16:creationId xmlns:a16="http://schemas.microsoft.com/office/drawing/2014/main" id="{4B4684B8-C357-692F-3988-B5BD9D9EB6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65619" y="2817330"/>
            <a:ext cx="1950017" cy="195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77221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diagram of a company&#10;&#10;Description automatically generated">
            <a:extLst>
              <a:ext uri="{FF2B5EF4-FFF2-40B4-BE49-F238E27FC236}">
                <a16:creationId xmlns:a16="http://schemas.microsoft.com/office/drawing/2014/main" id="{77E1E120-2ACC-C437-112A-C5DD20DDFB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2277" y="690181"/>
            <a:ext cx="7219446" cy="410787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94BB253-4160-C88A-11A1-E93F825C17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Brukerstøtte</a:t>
            </a:r>
          </a:p>
        </p:txBody>
      </p:sp>
    </p:spTree>
    <p:extLst>
      <p:ext uri="{BB962C8B-B14F-4D97-AF65-F5344CB8AC3E}">
        <p14:creationId xmlns:p14="http://schemas.microsoft.com/office/powerpoint/2010/main" val="11489622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18BC12-FC08-1B1D-8F32-5F564787FD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ontaktpersoner </a:t>
            </a:r>
            <a:r>
              <a:rPr lang="nb-NO" err="1"/>
              <a:t>btb</a:t>
            </a:r>
            <a:r>
              <a:rPr lang="nb-NO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49CE79-402D-F253-CC83-8920138CC362}"/>
              </a:ext>
            </a:extLst>
          </p:cNvPr>
          <p:cNvSpPr txBox="1"/>
          <p:nvPr/>
        </p:nvSpPr>
        <p:spPr>
          <a:xfrm>
            <a:off x="326573" y="1072390"/>
            <a:ext cx="216010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: </a:t>
            </a:r>
          </a:p>
        </p:txBody>
      </p:sp>
      <p:pic>
        <p:nvPicPr>
          <p:cNvPr id="4" name="Picture 22" descr="profileimage">
            <a:extLst>
              <a:ext uri="{FF2B5EF4-FFF2-40B4-BE49-F238E27FC236}">
                <a16:creationId xmlns:a16="http://schemas.microsoft.com/office/drawing/2014/main" id="{3043E968-A321-DA6B-250C-EB77EBF832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67" y="1381786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C365B3B-DF08-2228-F8ED-D3661FB921F1}"/>
              </a:ext>
            </a:extLst>
          </p:cNvPr>
          <p:cNvSpPr txBox="1"/>
          <p:nvPr/>
        </p:nvSpPr>
        <p:spPr>
          <a:xfrm>
            <a:off x="988838" y="1337822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en Ellingsberg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ansvarlig </a:t>
            </a:r>
            <a:r>
              <a:rPr kumimoji="0" lang="nb-NO" sz="9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tb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314538-1D32-655B-E9C9-398E2D5E4B18}"/>
              </a:ext>
            </a:extLst>
          </p:cNvPr>
          <p:cNvSpPr txBox="1"/>
          <p:nvPr/>
        </p:nvSpPr>
        <p:spPr>
          <a:xfrm>
            <a:off x="326573" y="2217716"/>
            <a:ext cx="26882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3"/>
              </a:rPr>
              <a:t>Prosessrådgivere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  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3AF41C66-08C0-41C8-A9E3-432151A90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38" y="2550892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9BA9FDB-40A2-42C8-D3DC-707B85D56F1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3"/>
          <a:stretch/>
        </p:blipFill>
        <p:spPr>
          <a:xfrm>
            <a:off x="412838" y="3328959"/>
            <a:ext cx="576000" cy="643559"/>
          </a:xfrm>
          <a:prstGeom prst="rect">
            <a:avLst/>
          </a:prstGeom>
        </p:spPr>
      </p:pic>
      <p:pic>
        <p:nvPicPr>
          <p:cNvPr id="9" name="Picture 18" descr="profileimage">
            <a:extLst>
              <a:ext uri="{FF2B5EF4-FFF2-40B4-BE49-F238E27FC236}">
                <a16:creationId xmlns:a16="http://schemas.microsoft.com/office/drawing/2014/main" id="{D872AD4D-8451-93C3-EED9-E7609361FA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838" y="4188826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390F8E7-7655-3BE6-C08A-6808CED2D9B4}"/>
              </a:ext>
            </a:extLst>
          </p:cNvPr>
          <p:cNvSpPr txBox="1"/>
          <p:nvPr/>
        </p:nvSpPr>
        <p:spPr>
          <a:xfrm>
            <a:off x="1019948" y="2527810"/>
            <a:ext cx="14667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n Brevik Antonsen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Felles adm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85D707-3E2A-1E27-DA92-EEBD51F62B60}"/>
              </a:ext>
            </a:extLst>
          </p:cNvPr>
          <p:cNvSpPr txBox="1"/>
          <p:nvPr/>
        </p:nvSpPr>
        <p:spPr>
          <a:xfrm>
            <a:off x="1016809" y="3287568"/>
            <a:ext cx="1288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na Sundli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</a:t>
            </a:r>
            <a:r>
              <a:rPr lang="nb-NO" sz="900">
                <a:solidFill>
                  <a:srgbClr val="000000"/>
                </a:solidFill>
                <a:latin typeface="Arial" panose="020B0604020202020204"/>
              </a:rPr>
              <a:t>MH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9DE738A-7524-1863-15FB-06AFC1B09FFF}"/>
              </a:ext>
            </a:extLst>
          </p:cNvPr>
          <p:cNvSpPr txBox="1"/>
          <p:nvPr/>
        </p:nvSpPr>
        <p:spPr>
          <a:xfrm>
            <a:off x="1019948" y="4158468"/>
            <a:ext cx="1313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Yana Bezdudn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AD</a:t>
            </a:r>
          </a:p>
        </p:txBody>
      </p:sp>
      <p:pic>
        <p:nvPicPr>
          <p:cNvPr id="13" name="Picture 8" descr="profileimage">
            <a:extLst>
              <a:ext uri="{FF2B5EF4-FFF2-40B4-BE49-F238E27FC236}">
                <a16:creationId xmlns:a16="http://schemas.microsoft.com/office/drawing/2014/main" id="{0C4F5CC0-78E8-69E4-48BC-2EE0C7DBF8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6" descr="profileimage">
            <a:extLst>
              <a:ext uri="{FF2B5EF4-FFF2-40B4-BE49-F238E27FC236}">
                <a16:creationId xmlns:a16="http://schemas.microsoft.com/office/drawing/2014/main" id="{A6F1BB53-1E0C-8544-26D0-D4126EE8BC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836" y="3293467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6" descr="profileimage">
            <a:extLst>
              <a:ext uri="{FF2B5EF4-FFF2-40B4-BE49-F238E27FC236}">
                <a16:creationId xmlns:a16="http://schemas.microsoft.com/office/drawing/2014/main" id="{2100BC6A-A12E-084D-F6E5-8767BDCD9B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9221" y="414925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631FD61D-78BE-9892-0993-A9D9CFC3109C}"/>
              </a:ext>
            </a:extLst>
          </p:cNvPr>
          <p:cNvSpPr txBox="1"/>
          <p:nvPr/>
        </p:nvSpPr>
        <p:spPr>
          <a:xfrm>
            <a:off x="3090836" y="2513157"/>
            <a:ext cx="168088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enche Wilhelmsen Finseth</a:t>
            </a: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02AF7A1-382F-9E9A-850F-4C8A5357FC1D}"/>
              </a:ext>
            </a:extLst>
          </p:cNvPr>
          <p:cNvSpPr txBox="1"/>
          <p:nvPr/>
        </p:nvSpPr>
        <p:spPr>
          <a:xfrm>
            <a:off x="3075221" y="3287568"/>
            <a:ext cx="1742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lje Storsu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V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FBB35C-BD9F-3BEB-A4DA-04A1F6574375}"/>
              </a:ext>
            </a:extLst>
          </p:cNvPr>
          <p:cNvSpPr txBox="1"/>
          <p:nvPr/>
        </p:nvSpPr>
        <p:spPr>
          <a:xfrm>
            <a:off x="3127291" y="4148190"/>
            <a:ext cx="194144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e-Grethe Nilse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NV</a:t>
            </a:r>
            <a:b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" name="Picture 20" descr="profileimage">
            <a:extLst>
              <a:ext uri="{FF2B5EF4-FFF2-40B4-BE49-F238E27FC236}">
                <a16:creationId xmlns:a16="http://schemas.microsoft.com/office/drawing/2014/main" id="{8954386E-7501-B7A7-DB4E-F34C796288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8608" y="2553643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4" descr="profileimage">
            <a:extLst>
              <a:ext uri="{FF2B5EF4-FFF2-40B4-BE49-F238E27FC236}">
                <a16:creationId xmlns:a16="http://schemas.microsoft.com/office/drawing/2014/main" id="{C1DA58EF-B0B1-DD4E-F403-C0DE82A9D2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407" y="3321338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profileimage">
            <a:extLst>
              <a:ext uri="{FF2B5EF4-FFF2-40B4-BE49-F238E27FC236}">
                <a16:creationId xmlns:a16="http://schemas.microsoft.com/office/drawing/2014/main" id="{C1B09242-D3A0-20B4-1AC7-6FCB330126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2875" y="4144418"/>
            <a:ext cx="576000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D03667EC-21D8-6822-CE80-7FB955E6EC09}"/>
              </a:ext>
            </a:extLst>
          </p:cNvPr>
          <p:cNvSpPr txBox="1"/>
          <p:nvPr/>
        </p:nvSpPr>
        <p:spPr>
          <a:xfrm>
            <a:off x="5352820" y="2513157"/>
            <a:ext cx="13446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ndi Leikvold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ØK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1DD466-E0A2-D198-0AC9-63FD329EFDA8}"/>
              </a:ext>
            </a:extLst>
          </p:cNvPr>
          <p:cNvSpPr txBox="1"/>
          <p:nvPr/>
        </p:nvSpPr>
        <p:spPr>
          <a:xfrm>
            <a:off x="5310477" y="3276739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cilie Heimdal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HF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1A59DDF-6A5D-64BD-7695-DB0F26A67D45}"/>
              </a:ext>
            </a:extLst>
          </p:cNvPr>
          <p:cNvSpPr txBox="1"/>
          <p:nvPr/>
        </p:nvSpPr>
        <p:spPr>
          <a:xfrm>
            <a:off x="5352820" y="4144418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na Gulla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VM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F122EE2-C9E4-491F-738B-3646F789F3CE}"/>
              </a:ext>
            </a:extLst>
          </p:cNvPr>
          <p:cNvSpPr/>
          <p:nvPr/>
        </p:nvSpPr>
        <p:spPr>
          <a:xfrm>
            <a:off x="6862533" y="2480288"/>
            <a:ext cx="576000" cy="576000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7" name="Picture 26" descr="A close-up of a person&#10;&#10;Description automatically generated">
            <a:extLst>
              <a:ext uri="{FF2B5EF4-FFF2-40B4-BE49-F238E27FC236}">
                <a16:creationId xmlns:a16="http://schemas.microsoft.com/office/drawing/2014/main" id="{1B263244-A4C0-F9FE-B8D6-0F74D3CE252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865931" y="3252914"/>
            <a:ext cx="616553" cy="616553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7D29F44-A975-DFD3-64D9-CFEA8B0D9FFD}"/>
              </a:ext>
            </a:extLst>
          </p:cNvPr>
          <p:cNvSpPr txBox="1"/>
          <p:nvPr/>
        </p:nvSpPr>
        <p:spPr>
          <a:xfrm>
            <a:off x="7482484" y="2481643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Åse Vibeke Belsvik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I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716027A-60BD-27CF-A6FF-A369B0D938CB}"/>
              </a:ext>
            </a:extLst>
          </p:cNvPr>
          <p:cNvSpPr txBox="1"/>
          <p:nvPr/>
        </p:nvSpPr>
        <p:spPr>
          <a:xfrm>
            <a:off x="7487836" y="3252914"/>
            <a:ext cx="19414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ina Simonsen</a:t>
            </a: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rådgiver SU</a:t>
            </a:r>
          </a:p>
        </p:txBody>
      </p:sp>
    </p:spTree>
    <p:extLst>
      <p:ext uri="{BB962C8B-B14F-4D97-AF65-F5344CB8AC3E}">
        <p14:creationId xmlns:p14="http://schemas.microsoft.com/office/powerpoint/2010/main" val="261289289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E4654-CB80-A555-A448-51A203D0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AE17A00F-E0D6-2F77-2365-621A568BD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9388819"/>
              </p:ext>
            </p:extLst>
          </p:nvPr>
        </p:nvGraphicFramePr>
        <p:xfrm>
          <a:off x="409649" y="994347"/>
          <a:ext cx="7476357" cy="2958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7635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</a:t>
                      </a: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Tema for møtet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MVA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Anlegg</a:t>
                      </a:r>
                    </a:p>
                    <a:p>
                      <a:pPr marL="0" marR="0" lvl="0" indent="0" algn="l" defTabSz="45718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8223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Hvor kan du finne mer informasjo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Opplær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Brukerstøtt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  <a:tr h="3984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Spørsmål og svar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4483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23626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52287B-5F4F-AA79-237F-89D416063D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A8B26C1-A51F-D596-C77C-DBD11B706F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9213" y="2248694"/>
            <a:ext cx="3780418" cy="646331"/>
          </a:xfrm>
        </p:spPr>
        <p:txBody>
          <a:bodyPr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nb-NO" sz="3100"/>
              <a:t>Spørsmål og svar</a:t>
            </a:r>
            <a:br>
              <a:rPr lang="nb-NO" sz="2000"/>
            </a:br>
            <a:endParaRPr lang="nb-NO" sz="2000"/>
          </a:p>
        </p:txBody>
      </p:sp>
      <p:pic>
        <p:nvPicPr>
          <p:cNvPr id="2" name="Content Placeholder 4" descr="Questions outline">
            <a:extLst>
              <a:ext uri="{FF2B5EF4-FFF2-40B4-BE49-F238E27FC236}">
                <a16:creationId xmlns:a16="http://schemas.microsoft.com/office/drawing/2014/main" id="{84521338-D892-CCAA-315E-502391E319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72100" y="1791029"/>
            <a:ext cx="1372065" cy="1372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23419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AE67AED-19F0-EA7B-07E6-760672BBD7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0" y="1200151"/>
            <a:ext cx="3276600" cy="185737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F55E470-0BE1-2C6D-AB8B-52041173A87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nb-NO" sz="1800" b="0" i="0">
                <a:solidFill>
                  <a:srgbClr val="333333"/>
                </a:solidFill>
                <a:effectLst/>
                <a:latin typeface="+mn-lt"/>
              </a:rPr>
              <a:t>Dette skyldes ifølge DFØ at UNIT4 ikke er tilpasset så brede skjermer som det mange av oss bruker, og løsningen er å forminske nettleservinduet inntil feltet forsvinner.</a:t>
            </a:r>
            <a:endParaRPr lang="nb-NO" sz="18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855422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B5C417A-5DE6-94D7-62E8-8F74D46BA8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23" y="1200151"/>
            <a:ext cx="3057525" cy="2266950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6563501-9F0C-0C7D-1339-2D06E22248A0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85000" lnSpcReduction="20000"/>
          </a:bodyPr>
          <a:lstStyle/>
          <a:p>
            <a:r>
              <a:rPr lang="nb-NO"/>
              <a:t>Det er ikke mulig å lage flere linjer i selve planen, men du lager linjene når du gjør avrop fra planen (lager innkjøpsordre tilknyttet planen).</a:t>
            </a:r>
          </a:p>
          <a:p>
            <a:r>
              <a:rPr lang="nb-NO"/>
              <a:t>Da kan du endre på verdiene konto og </a:t>
            </a:r>
            <a:r>
              <a:rPr lang="nb-NO" err="1"/>
              <a:t>mva</a:t>
            </a:r>
            <a:r>
              <a:rPr lang="nb-NO"/>
              <a:t>-kode, men ikke kostnadssted, prosjekt eller delprosjekt.</a:t>
            </a:r>
          </a:p>
        </p:txBody>
      </p:sp>
    </p:spTree>
    <p:extLst>
      <p:ext uri="{BB962C8B-B14F-4D97-AF65-F5344CB8AC3E}">
        <p14:creationId xmlns:p14="http://schemas.microsoft.com/office/powerpoint/2010/main" val="29236566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5A01102-A4A1-4791-B7B0-EA1AC396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35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5A01102-A4A1-4791-B7B0-EA1AC396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1"/>
            <a:ext cx="8229600" cy="954107"/>
          </a:xfrm>
        </p:spPr>
        <p:txBody>
          <a:bodyPr vert="horz"/>
          <a:lstStyle/>
          <a:p>
            <a:r>
              <a:rPr lang="nb-NO" sz="2800"/>
              <a:t>Tema for møtet</a:t>
            </a:r>
            <a:br>
              <a:rPr lang="nb-NO" sz="2800"/>
            </a:br>
            <a:endParaRPr lang="nb-NO" sz="28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1865316" y="2110205"/>
            <a:ext cx="411479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285736" indent="-285736" defTabSz="457178">
              <a:buFont typeface="Arial" panose="020B0604020202020204" pitchFamily="34" charset="0"/>
              <a:buChar char="•"/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457178" lvl="1" defTabSz="457178">
              <a:defRPr/>
            </a:pPr>
            <a:r>
              <a:rPr lang="nb-NO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457178">
              <a:defRPr/>
            </a:pPr>
            <a:endParaRPr lang="nb-NO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596" y="806659"/>
            <a:ext cx="8121477" cy="3855437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000665" y="841294"/>
            <a:ext cx="5187430" cy="3560496"/>
          </a:xfrm>
          <a:prstGeom prst="ellipse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lang="en-US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3520576" y="1273245"/>
            <a:ext cx="4203448" cy="507831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 defTabSz="685800"/>
            <a:endParaRPr lang="nb-NO" sz="1425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 defTabSz="685800"/>
            <a:endParaRPr lang="nb-NO" sz="1275" b="1">
              <a:solidFill>
                <a:srgbClr val="242424"/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0CBA1E8-C827-0929-C3AD-DF6E405E4BBF}"/>
              </a:ext>
            </a:extLst>
          </p:cNvPr>
          <p:cNvSpPr txBox="1"/>
          <p:nvPr/>
        </p:nvSpPr>
        <p:spPr>
          <a:xfrm>
            <a:off x="3326668" y="1352807"/>
            <a:ext cx="45354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MVA og Anlegg </a:t>
            </a:r>
          </a:p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for BtB-prosessen</a:t>
            </a:r>
          </a:p>
          <a:p>
            <a:pPr algn="ctr" defTabSz="685800"/>
            <a:endParaRPr lang="nb-NO" sz="2400">
              <a:solidFill>
                <a:srgbClr val="000000"/>
              </a:solidFill>
              <a:latin typeface="Arial" panose="020B0604020202020204"/>
            </a:endParaRPr>
          </a:p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Målgruppe: </a:t>
            </a:r>
          </a:p>
          <a:p>
            <a:pPr algn="ctr" defTabSz="685800"/>
            <a:r>
              <a:rPr lang="nb-NO" sz="2400">
                <a:solidFill>
                  <a:srgbClr val="000000"/>
                </a:solidFill>
                <a:latin typeface="Arial" panose="020B0604020202020204"/>
              </a:rPr>
              <a:t>Fagrekvirent og Innkjøper</a:t>
            </a:r>
          </a:p>
        </p:txBody>
      </p:sp>
    </p:spTree>
    <p:extLst>
      <p:ext uri="{BB962C8B-B14F-4D97-AF65-F5344CB8AC3E}">
        <p14:creationId xmlns:p14="http://schemas.microsoft.com/office/powerpoint/2010/main" val="122787059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29F59628-B516-4871-1379-4F9194AF35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1385" y="298339"/>
            <a:ext cx="8418747" cy="648512"/>
          </a:xfrm>
        </p:spPr>
        <p:txBody>
          <a:bodyPr/>
          <a:lstStyle/>
          <a:p>
            <a:r>
              <a:rPr lang="nb-NO" sz="3600" b="1" i="0" kern="1200">
                <a:latin typeface="Arial"/>
                <a:ea typeface="+mj-ea"/>
                <a:cs typeface="Arial"/>
              </a:rPr>
              <a:t>Takk for deltakelsen!</a:t>
            </a:r>
            <a:endParaRPr lang="en-US"/>
          </a:p>
        </p:txBody>
      </p:sp>
      <p:pic>
        <p:nvPicPr>
          <p:cNvPr id="4" name="Picture 2" descr="Plante tulipanløker">
            <a:extLst>
              <a:ext uri="{FF2B5EF4-FFF2-40B4-BE49-F238E27FC236}">
                <a16:creationId xmlns:a16="http://schemas.microsoft.com/office/drawing/2014/main" id="{241FC487-7951-12D0-8B02-A160B6CD1E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16" r="1" b="11577"/>
          <a:stretch/>
        </p:blipFill>
        <p:spPr bwMode="auto">
          <a:xfrm>
            <a:off x="301385" y="1010266"/>
            <a:ext cx="8418747" cy="36137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062614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1E4654-CB80-A555-A448-51A203D0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AE17A00F-E0D6-2F77-2365-621A568BD3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227165"/>
              </p:ext>
            </p:extLst>
          </p:nvPr>
        </p:nvGraphicFramePr>
        <p:xfrm>
          <a:off x="409649" y="994347"/>
          <a:ext cx="7476357" cy="29587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476357">
                  <a:extLst>
                    <a:ext uri="{9D8B030D-6E8A-4147-A177-3AD203B41FA5}">
                      <a16:colId xmlns:a16="http://schemas.microsoft.com/office/drawing/2014/main" val="3031343381"/>
                    </a:ext>
                  </a:extLst>
                </a:gridCol>
              </a:tblGrid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Velkommen</a:t>
                      </a:r>
                      <a:r>
                        <a:rPr lang="nb-NO" sz="1600">
                          <a:solidFill>
                            <a:schemeClr val="bg1"/>
                          </a:solidFill>
                        </a:rPr>
                        <a:t> </a:t>
                      </a:r>
                    </a:p>
                    <a:p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nb-NO" sz="1600" i="1">
                          <a:solidFill>
                            <a:schemeClr val="tx1"/>
                          </a:solidFill>
                        </a:rPr>
                        <a:t>- Tema for møtet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356267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MVA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>
                          <a:solidFill>
                            <a:schemeClr val="bg1"/>
                          </a:solidFill>
                        </a:rPr>
                        <a:t>For BtB-prosessen</a:t>
                      </a:r>
                    </a:p>
                  </a:txBody>
                  <a:tcPr>
                    <a:solidFill>
                      <a:srgbClr val="0D347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0165729"/>
                  </a:ext>
                </a:extLst>
              </a:tr>
              <a:tr h="578715">
                <a:tc>
                  <a:txBody>
                    <a:bodyPr/>
                    <a:lstStyle/>
                    <a:p>
                      <a:r>
                        <a:rPr lang="nb-NO" sz="1600" b="1"/>
                        <a:t>Anlegg</a:t>
                      </a:r>
                    </a:p>
                    <a:p>
                      <a:pPr marL="0" indent="0">
                        <a:buFontTx/>
                        <a:buNone/>
                      </a:pPr>
                      <a:r>
                        <a:rPr lang="nb-NO" sz="1600" i="1"/>
                        <a:t>For BtB-prosess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9177042"/>
                  </a:ext>
                </a:extLst>
              </a:tr>
              <a:tr h="82238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tx1"/>
                          </a:solidFill>
                        </a:rPr>
                        <a:t>Hvor kan du finne mer informasjon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Opplæring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nb-NO" sz="1600" i="1"/>
                        <a:t>Brukerstøtt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241633"/>
                  </a:ext>
                </a:extLst>
              </a:tr>
              <a:tr h="39844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/>
                        <a:t>Spørsmål og sv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14483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97460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7CB1D9-6B48-2BE3-91F5-5A0BADF12A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23587A3-0342-3D79-5EEC-91C595CC255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89213" y="2248694"/>
            <a:ext cx="3780418" cy="646331"/>
          </a:xfrm>
        </p:spPr>
        <p:txBody>
          <a:bodyPr anchor="t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nb-NO" sz="3100"/>
              <a:t>MVA - merverdiavgift</a:t>
            </a:r>
            <a:br>
              <a:rPr lang="nb-NO" sz="2000"/>
            </a:br>
            <a:endParaRPr lang="nb-NO" sz="2000"/>
          </a:p>
        </p:txBody>
      </p:sp>
      <p:pic>
        <p:nvPicPr>
          <p:cNvPr id="6" name="Content Placeholder 4" descr="Tax outline">
            <a:extLst>
              <a:ext uri="{FF2B5EF4-FFF2-40B4-BE49-F238E27FC236}">
                <a16:creationId xmlns:a16="http://schemas.microsoft.com/office/drawing/2014/main" id="{11E97BD4-2D8D-7726-472F-CEF34E232A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4611" y="1954406"/>
            <a:ext cx="1397819" cy="1397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0170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54B3F31-9BB8-CBB5-BE54-18D3507E4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nledning MVA - Begrep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812C522-6B6D-340F-D23A-C99CD98040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1385" y="1010265"/>
            <a:ext cx="8418747" cy="3834895"/>
          </a:xfrm>
        </p:spPr>
        <p:txBody>
          <a:bodyPr vert="horz" lIns="90000" tIns="46800" rIns="90000" bIns="46800" rtlCol="0" anchor="t">
            <a:noAutofit/>
          </a:bodyPr>
          <a:lstStyle/>
          <a:p>
            <a:pPr marL="0" indent="0">
              <a:buNone/>
            </a:pPr>
            <a:r>
              <a:rPr lang="nb-NO" sz="1800" u="sng"/>
              <a:t>Merverdiavgift </a:t>
            </a:r>
            <a:r>
              <a:rPr lang="nb-NO" sz="1800"/>
              <a:t>er den avgiften som påløper ved kjøp av en avgiftspliktig vare eller tjeneste av en norsk leverandør.</a:t>
            </a:r>
            <a:br>
              <a:rPr lang="nb-NO" sz="1800"/>
            </a:br>
            <a:endParaRPr lang="nb-NO" sz="1800"/>
          </a:p>
          <a:p>
            <a:pPr marL="0" indent="0">
              <a:buNone/>
            </a:pPr>
            <a:r>
              <a:rPr lang="nb-NO" sz="1800" u="sng"/>
              <a:t>Merverdiavgift på kjøp av varer og tjenester fra utlandet</a:t>
            </a:r>
          </a:p>
          <a:p>
            <a:r>
              <a:rPr lang="nb-NO" sz="1800"/>
              <a:t>Varer </a:t>
            </a:r>
          </a:p>
          <a:p>
            <a:pPr lvl="1"/>
            <a:r>
              <a:rPr lang="nb-NO" sz="1400"/>
              <a:t>Blir fortollet på landegrensen.</a:t>
            </a:r>
          </a:p>
          <a:p>
            <a:pPr lvl="1"/>
            <a:r>
              <a:rPr lang="nb-NO" sz="1400"/>
              <a:t>NTNU får avregning fra Skatteetaten på varer som er fortollet og ved bruk av riktig avgiftskode vil det bli samsvar mellom Skatteetaten og NTNU.</a:t>
            </a:r>
          </a:p>
          <a:p>
            <a:r>
              <a:rPr lang="nb-NO" sz="1800"/>
              <a:t>Tjenester</a:t>
            </a:r>
            <a:endParaRPr lang="nb-NO" sz="1400"/>
          </a:p>
          <a:p>
            <a:pPr lvl="1"/>
            <a:r>
              <a:rPr lang="nb-NO" sz="1400"/>
              <a:t>Her er det NTNU som er pliktig til å beregne, innberette og betale MVA ved kjøp av fjernleverbare tjenester fra utlandet</a:t>
            </a:r>
          </a:p>
          <a:p>
            <a:pPr marL="0" indent="0">
              <a:buNone/>
            </a:pPr>
            <a:r>
              <a:rPr lang="nb-NO" sz="1800"/>
              <a:t>Hovedregelen for NTNU er at merverdiavgift blir en kostnad i regnskapet, da NTNU i hovedsak ikke har fradragsrett.</a:t>
            </a:r>
            <a:endParaRPr lang="en-US" sz="1800"/>
          </a:p>
          <a:p>
            <a:pPr marL="0" indent="0">
              <a:buNone/>
            </a:pPr>
            <a:endParaRPr lang="nb-NO" sz="1500" u="sng">
              <a:solidFill>
                <a:srgbClr val="222222"/>
              </a:solidFill>
            </a:endParaRPr>
          </a:p>
          <a:p>
            <a:pPr marL="0" indent="0">
              <a:buNone/>
            </a:pPr>
            <a:endParaRPr lang="nb-NO" sz="1800"/>
          </a:p>
        </p:txBody>
      </p:sp>
    </p:spTree>
    <p:extLst>
      <p:ext uri="{BB962C8B-B14F-4D97-AF65-F5344CB8AC3E}">
        <p14:creationId xmlns:p14="http://schemas.microsoft.com/office/powerpoint/2010/main" val="34955002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2204013-69A2-6245-A7DC-84E8FD895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646331"/>
          </a:xfrm>
        </p:spPr>
        <p:txBody>
          <a:bodyPr anchor="t">
            <a:normAutofit/>
          </a:bodyPr>
          <a:lstStyle/>
          <a:p>
            <a:r>
              <a:rPr lang="en-US"/>
              <a:t>MVA-</a:t>
            </a:r>
            <a:r>
              <a:rPr lang="en-US" err="1"/>
              <a:t>satser</a:t>
            </a:r>
            <a:r>
              <a:rPr lang="en-US"/>
              <a:t> 2024 </a:t>
            </a:r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A21424-D634-E445-A8B0-6C748C138F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565387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257175" lvl="2" indent="-257175">
              <a:lnSpc>
                <a:spcPct val="90000"/>
              </a:lnSpc>
            </a:pPr>
            <a:r>
              <a:rPr lang="nb-NO" sz="1500"/>
              <a:t>Hvilken MVA-sats (%) ved opprettelse av innkjøpsforespørsel</a:t>
            </a:r>
          </a:p>
          <a:p>
            <a:pPr marL="714375" lvl="3" indent="-257175">
              <a:lnSpc>
                <a:spcPct val="90000"/>
              </a:lnSpc>
            </a:pPr>
            <a:r>
              <a:rPr lang="nb-NO" sz="1500"/>
              <a:t>25 %</a:t>
            </a:r>
          </a:p>
          <a:p>
            <a:pPr marL="714375" lvl="3" indent="-257175">
              <a:lnSpc>
                <a:spcPct val="90000"/>
              </a:lnSpc>
            </a:pPr>
            <a:r>
              <a:rPr lang="nb-NO" sz="1500"/>
              <a:t>15%</a:t>
            </a:r>
          </a:p>
          <a:p>
            <a:pPr marL="714375" lvl="3" indent="-257175">
              <a:lnSpc>
                <a:spcPct val="90000"/>
              </a:lnSpc>
            </a:pPr>
            <a:r>
              <a:rPr lang="nb-NO" sz="1500"/>
              <a:t>12%</a:t>
            </a:r>
          </a:p>
          <a:p>
            <a:pPr marL="714375" lvl="3" indent="-257175">
              <a:lnSpc>
                <a:spcPct val="90000"/>
              </a:lnSpc>
            </a:pPr>
            <a:r>
              <a:rPr lang="nb-NO" sz="1500"/>
              <a:t>  0%</a:t>
            </a:r>
          </a:p>
          <a:p>
            <a:pPr marL="257175" lvl="2" indent="-257175">
              <a:lnSpc>
                <a:spcPct val="90000"/>
              </a:lnSpc>
            </a:pPr>
            <a:r>
              <a:rPr lang="nb-NO" sz="1500"/>
              <a:t>Innkjøpsforespørsel til Norsk Leverandør?</a:t>
            </a:r>
          </a:p>
          <a:p>
            <a:pPr marL="257175" lvl="2" indent="-257175">
              <a:lnSpc>
                <a:spcPct val="90000"/>
              </a:lnSpc>
            </a:pPr>
            <a:r>
              <a:rPr lang="nb-NO" sz="1500"/>
              <a:t>Innkjøpsforespørsel til Utenlandsk Leverandør?</a:t>
            </a:r>
          </a:p>
          <a:p>
            <a:pPr marL="714375" lvl="3" indent="-257175">
              <a:lnSpc>
                <a:spcPct val="90000"/>
              </a:lnSpc>
            </a:pPr>
            <a:r>
              <a:rPr lang="nb-NO" sz="1500"/>
              <a:t>Er anskaffelsen en vare eller en tjeneste</a:t>
            </a:r>
          </a:p>
          <a:p>
            <a:pPr marL="257175" lvl="2" indent="-257175">
              <a:lnSpc>
                <a:spcPct val="90000"/>
              </a:lnSpc>
            </a:pPr>
            <a:r>
              <a:rPr lang="nb-NO" sz="1500"/>
              <a:t>Hvis utenlandsk leverandør er registrert for norsk MVA (NUF – Norskregistrert utenlandsk foretak)</a:t>
            </a:r>
          </a:p>
          <a:p>
            <a:pPr marL="257175" lvl="2" indent="-257175">
              <a:lnSpc>
                <a:spcPct val="90000"/>
              </a:lnSpc>
            </a:pPr>
            <a:r>
              <a:rPr lang="nb-NO" sz="1500">
                <a:hlinkClick r:id="rId3"/>
              </a:rPr>
              <a:t>https://www.skatteetaten.no/satser/merverdiavgift/</a:t>
            </a:r>
            <a:r>
              <a:rPr lang="nb-NO" sz="1500"/>
              <a:t> </a:t>
            </a:r>
          </a:p>
          <a:p>
            <a:pPr marL="257175" lvl="2" indent="-257175">
              <a:lnSpc>
                <a:spcPct val="90000"/>
              </a:lnSpc>
            </a:pPr>
            <a:endParaRPr lang="nb-NO" sz="1500"/>
          </a:p>
          <a:p>
            <a:pPr marL="257175" lvl="2" indent="-257175">
              <a:lnSpc>
                <a:spcPct val="90000"/>
              </a:lnSpc>
            </a:pPr>
            <a:r>
              <a:rPr lang="nb-NO" sz="1500">
                <a:hlinkClick r:id="rId4"/>
              </a:rPr>
              <a:t>MVA-koder - oversikt med forklaringer - Kunnskapsbasen - NTNU</a:t>
            </a:r>
            <a:endParaRPr lang="nb-NO" sz="1500"/>
          </a:p>
          <a:p>
            <a:pPr marL="257175" lvl="2" indent="-257175">
              <a:lnSpc>
                <a:spcPct val="90000"/>
              </a:lnSpc>
            </a:pPr>
            <a:endParaRPr lang="nb-NO" sz="1500"/>
          </a:p>
          <a:p>
            <a:pPr marL="257175" lvl="2" indent="-257175">
              <a:lnSpc>
                <a:spcPct val="90000"/>
              </a:lnSpc>
            </a:pPr>
            <a:endParaRPr lang="nb-NO" sz="1500"/>
          </a:p>
        </p:txBody>
      </p:sp>
      <p:pic>
        <p:nvPicPr>
          <p:cNvPr id="4" name="Picture 15">
            <a:extLst>
              <a:ext uri="{FF2B5EF4-FFF2-40B4-BE49-F238E27FC236}">
                <a16:creationId xmlns:a16="http://schemas.microsoft.com/office/drawing/2014/main" id="{532B97E3-9A9F-7508-9A3A-2D8932A062A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2098" y="1200151"/>
            <a:ext cx="3190803" cy="33944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742664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heme/theme1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13b042f-9794-4027-a84f-2231e330fb1a">
      <UserInfo>
        <DisplayName>Anniken Westad</DisplayName>
        <AccountId>18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01D758128B2AA40AB396521396754A2" ma:contentTypeVersion="6" ma:contentTypeDescription="Create a new document." ma:contentTypeScope="" ma:versionID="75c353a080efa226a02e2faea97d4b0d">
  <xsd:schema xmlns:xsd="http://www.w3.org/2001/XMLSchema" xmlns:xs="http://www.w3.org/2001/XMLSchema" xmlns:p="http://schemas.microsoft.com/office/2006/metadata/properties" xmlns:ns2="a8ab0af4-8f89-4004-94d8-e52c37537f19" xmlns:ns3="013b042f-9794-4027-a84f-2231e330fb1a" targetNamespace="http://schemas.microsoft.com/office/2006/metadata/properties" ma:root="true" ma:fieldsID="6ee870da6489a5df0872c90030409bbf" ns2:_="" ns3:_="">
    <xsd:import namespace="a8ab0af4-8f89-4004-94d8-e52c37537f19"/>
    <xsd:import namespace="013b042f-9794-4027-a84f-2231e330fb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ab0af4-8f89-4004-94d8-e52c37537f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3b042f-9794-4027-a84f-2231e330fb1a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3D9C836-F99A-4B96-81F2-35EA25B4E15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83F270-11ED-4F08-A7D9-D3F9906BA1B0}">
  <ds:schemaRefs>
    <ds:schemaRef ds:uri="http://purl.org/dc/terms/"/>
    <ds:schemaRef ds:uri="a8ab0af4-8f89-4004-94d8-e52c37537f19"/>
    <ds:schemaRef ds:uri="http://purl.org/dc/dcmitype/"/>
    <ds:schemaRef ds:uri="013b042f-9794-4027-a84f-2231e330fb1a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CD7C792-955C-4237-8B3A-C15C458B9D0D}">
  <ds:schemaRefs>
    <ds:schemaRef ds:uri="013b042f-9794-4027-a84f-2231e330fb1a"/>
    <ds:schemaRef ds:uri="a8ab0af4-8f89-4004-94d8-e52c37537f1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tnu_nn_16_9</Template>
  <TotalTime>0</TotalTime>
  <Words>2553</Words>
  <Application>Microsoft Office PowerPoint</Application>
  <PresentationFormat>Skjermfremvisning (16:9)</PresentationFormat>
  <Paragraphs>441</Paragraphs>
  <Slides>50</Slides>
  <Notes>18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0</vt:i4>
      </vt:variant>
    </vt:vector>
  </HeadingPairs>
  <TitlesOfParts>
    <vt:vector size="57" baseType="lpstr">
      <vt:lpstr>Arial</vt:lpstr>
      <vt:lpstr>Calibri</vt:lpstr>
      <vt:lpstr>Courier New</vt:lpstr>
      <vt:lpstr>Wingdings</vt:lpstr>
      <vt:lpstr>2_Office-tema</vt:lpstr>
      <vt:lpstr>3_Office-tema</vt:lpstr>
      <vt:lpstr>think-cell Slide</vt:lpstr>
      <vt:lpstr>Behov til betaling –  Fagkafé </vt:lpstr>
      <vt:lpstr>PowerPoint-presentasjon</vt:lpstr>
      <vt:lpstr>Spørsmål og svar</vt:lpstr>
      <vt:lpstr>Agenda</vt:lpstr>
      <vt:lpstr>Tema for møtet </vt:lpstr>
      <vt:lpstr>Agenda</vt:lpstr>
      <vt:lpstr>MVA - merverdiavgift </vt:lpstr>
      <vt:lpstr>Innledning MVA - Begrep</vt:lpstr>
      <vt:lpstr>MVA-satser 2024 </vt:lpstr>
      <vt:lpstr>Mva - koder i Unit4</vt:lpstr>
      <vt:lpstr>Mva – koder i Unit4</vt:lpstr>
      <vt:lpstr>Beslutnings-tre kjøp i Norge</vt:lpstr>
      <vt:lpstr>Eksempel på mva-koder til norske leverandører med og uten innkjøpsordre</vt:lpstr>
      <vt:lpstr>Mva – koder i Unit4 </vt:lpstr>
      <vt:lpstr>Mva – koder i Unit4</vt:lpstr>
      <vt:lpstr>Beslutnings-tre kjøp fra utlandet</vt:lpstr>
      <vt:lpstr>Vanlige Innkjøpsordre til utlandet</vt:lpstr>
      <vt:lpstr>Mva-koder og selvstendig næringsdrivende</vt:lpstr>
      <vt:lpstr>MVA-koder på innkjøpsordre og inngående faktura</vt:lpstr>
      <vt:lpstr>MVA-koder på innkjøpsordre og inngående faktura</vt:lpstr>
      <vt:lpstr>Case SiT</vt:lpstr>
      <vt:lpstr>Spørsmål fra Menti</vt:lpstr>
      <vt:lpstr>Spørsmål fra Menti</vt:lpstr>
      <vt:lpstr>Spørsmål fra Menti</vt:lpstr>
      <vt:lpstr>Spørsmål fra Menti</vt:lpstr>
      <vt:lpstr>Agenda</vt:lpstr>
      <vt:lpstr>Kort benstrekk –  5 min </vt:lpstr>
      <vt:lpstr>Anleggsmidler </vt:lpstr>
      <vt:lpstr>Begreper / terminologi</vt:lpstr>
      <vt:lpstr>Kostnad vs Investering</vt:lpstr>
      <vt:lpstr>Typer anleggsmidler og levetid</vt:lpstr>
      <vt:lpstr>Vedlikehold vs Påkostning på bygg</vt:lpstr>
      <vt:lpstr>PowerPoint-presentasjon</vt:lpstr>
      <vt:lpstr>Beskrivelser av relasjoner</vt:lpstr>
      <vt:lpstr>Obligatoriske relasjoner</vt:lpstr>
      <vt:lpstr>Viktig!</vt:lpstr>
      <vt:lpstr>Ikke skriv i dette feltet! (den fyller seg ut automatisk ved «Tillegg til..»)</vt:lpstr>
      <vt:lpstr>Viktig info</vt:lpstr>
      <vt:lpstr>Innkjøpsordre med anlegg i Unit4</vt:lpstr>
      <vt:lpstr>Innkjøpsordre med anlegg</vt:lpstr>
      <vt:lpstr>Eksempel</vt:lpstr>
      <vt:lpstr>Agenda</vt:lpstr>
      <vt:lpstr>Hvor kan du finne mer informasjon</vt:lpstr>
      <vt:lpstr>Brukerstøtte</vt:lpstr>
      <vt:lpstr>Kontaktpersoner btb </vt:lpstr>
      <vt:lpstr>Agenda</vt:lpstr>
      <vt:lpstr>Spørsmål og svar </vt:lpstr>
      <vt:lpstr>PowerPoint-presentasjon</vt:lpstr>
      <vt:lpstr>PowerPoint-presentasjon</vt:lpstr>
      <vt:lpstr>Takk for deltakelsen!</vt:lpstr>
    </vt:vector>
  </TitlesOfParts>
  <Company>NTN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Gry-Lene Johansen</dc:creator>
  <cp:lastModifiedBy>Anniken Westad</cp:lastModifiedBy>
  <cp:revision>1</cp:revision>
  <cp:lastPrinted>2024-04-23T18:16:33Z</cp:lastPrinted>
  <dcterms:created xsi:type="dcterms:W3CDTF">2022-03-25T07:38:29Z</dcterms:created>
  <dcterms:modified xsi:type="dcterms:W3CDTF">2024-04-24T09:0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1D758128B2AA40AB396521396754A2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4-27T09:36:24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07bf267c-82bd-486a-8860-ea7de6759f39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